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4069" r:id="rId2"/>
    <p:sldMasterId id="2147484079" r:id="rId3"/>
  </p:sldMasterIdLst>
  <p:notesMasterIdLst>
    <p:notesMasterId r:id="rId20"/>
  </p:notesMasterIdLst>
  <p:sldIdLst>
    <p:sldId id="258" r:id="rId4"/>
    <p:sldId id="292" r:id="rId5"/>
    <p:sldId id="328" r:id="rId6"/>
    <p:sldId id="316" r:id="rId7"/>
    <p:sldId id="313" r:id="rId8"/>
    <p:sldId id="265" r:id="rId9"/>
    <p:sldId id="307" r:id="rId10"/>
    <p:sldId id="314" r:id="rId11"/>
    <p:sldId id="315" r:id="rId12"/>
    <p:sldId id="323" r:id="rId13"/>
    <p:sldId id="324" r:id="rId14"/>
    <p:sldId id="317" r:id="rId15"/>
    <p:sldId id="318" r:id="rId16"/>
    <p:sldId id="319" r:id="rId17"/>
    <p:sldId id="329" r:id="rId18"/>
    <p:sldId id="327" r:id="rId19"/>
  </p:sldIdLst>
  <p:sldSz cx="9144000" cy="6858000" type="screen4x3"/>
  <p:notesSz cx="6797675" cy="99266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chuhmann, Dirk" initials="D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EDE54D"/>
    <a:srgbClr val="E4D038"/>
    <a:srgbClr val="821015"/>
    <a:srgbClr val="670D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2018" autoAdjust="0"/>
  </p:normalViewPr>
  <p:slideViewPr>
    <p:cSldViewPr>
      <p:cViewPr varScale="1">
        <p:scale>
          <a:sx n="107" d="100"/>
          <a:sy n="107" d="100"/>
        </p:scale>
        <p:origin x="-1014" y="-84"/>
      </p:cViewPr>
      <p:guideLst>
        <p:guide orient="horz" pos="912"/>
        <p:guide orient="horz" pos="4201"/>
        <p:guide orient="horz" pos="288"/>
        <p:guide orient="horz" pos="824"/>
        <p:guide orient="horz" pos="3888"/>
        <p:guide orient="horz" pos="3648"/>
        <p:guide orient="horz" pos="4130"/>
        <p:guide orient="horz" pos="1200"/>
        <p:guide pos="5520"/>
        <p:guide pos="4080"/>
        <p:guide pos="240"/>
        <p:guide pos="2880"/>
        <p:guide pos="4320"/>
        <p:guide pos="1440"/>
        <p:guide pos="1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372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2"/>
            <c:invertIfNegative val="0"/>
            <c:bubble3D val="0"/>
            <c:spPr>
              <a:solidFill>
                <a:schemeClr val="accent2"/>
              </a:solidFill>
            </c:spPr>
          </c:dPt>
          <c:dLbls>
            <c:numFmt formatCode="#,##0.0" sourceLinked="0"/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16</c:f>
              <c:strCache>
                <c:ptCount val="15"/>
                <c:pt idx="0">
                  <c:v>Handelsblatt</c:v>
                </c:pt>
                <c:pt idx="1">
                  <c:v>Der Tagesspiegel</c:v>
                </c:pt>
                <c:pt idx="2">
                  <c:v>Der Westen</c:v>
                </c:pt>
                <c:pt idx="3">
                  <c:v>Huffington Post</c:v>
                </c:pt>
                <c:pt idx="4">
                  <c:v>N24</c:v>
                </c:pt>
                <c:pt idx="5">
                  <c:v>RP Online</c:v>
                </c:pt>
                <c:pt idx="6">
                  <c:v>FAZ.net</c:v>
                </c:pt>
                <c:pt idx="7">
                  <c:v>Stern.de</c:v>
                </c:pt>
                <c:pt idx="8">
                  <c:v>ZEIT online</c:v>
                </c:pt>
                <c:pt idx="9">
                  <c:v>Süddeutsche.de</c:v>
                </c:pt>
                <c:pt idx="10">
                  <c:v>n-tv.de</c:v>
                </c:pt>
                <c:pt idx="11">
                  <c:v>Die Welt</c:v>
                </c:pt>
                <c:pt idx="12">
                  <c:v>Spiegel online</c:v>
                </c:pt>
                <c:pt idx="13">
                  <c:v>Focus online</c:v>
                </c:pt>
                <c:pt idx="14">
                  <c:v>BILD</c:v>
                </c:pt>
              </c:strCache>
            </c:strRef>
          </c:cat>
          <c:val>
            <c:numRef>
              <c:f>Tabelle1!$B$2:$B$16</c:f>
              <c:numCache>
                <c:formatCode>General</c:formatCode>
                <c:ptCount val="15"/>
                <c:pt idx="0">
                  <c:v>3.76</c:v>
                </c:pt>
                <c:pt idx="1">
                  <c:v>4.47</c:v>
                </c:pt>
                <c:pt idx="2">
                  <c:v>4.79</c:v>
                </c:pt>
                <c:pt idx="3">
                  <c:v>5.91</c:v>
                </c:pt>
                <c:pt idx="4">
                  <c:v>5.98</c:v>
                </c:pt>
                <c:pt idx="5">
                  <c:v>5.98</c:v>
                </c:pt>
                <c:pt idx="6">
                  <c:v>8.19</c:v>
                </c:pt>
                <c:pt idx="7" formatCode="0.0">
                  <c:v>9</c:v>
                </c:pt>
                <c:pt idx="8">
                  <c:v>10.64</c:v>
                </c:pt>
                <c:pt idx="9">
                  <c:v>10.8</c:v>
                </c:pt>
                <c:pt idx="10">
                  <c:v>11.99</c:v>
                </c:pt>
                <c:pt idx="11">
                  <c:v>15.86</c:v>
                </c:pt>
                <c:pt idx="12">
                  <c:v>19.03</c:v>
                </c:pt>
                <c:pt idx="13">
                  <c:v>19.260000000000002</c:v>
                </c:pt>
                <c:pt idx="14">
                  <c:v>20.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150723584"/>
        <c:axId val="150340352"/>
      </c:barChart>
      <c:catAx>
        <c:axId val="15072358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de-DE"/>
          </a:p>
        </c:txPr>
        <c:crossAx val="150340352"/>
        <c:crosses val="autoZero"/>
        <c:auto val="1"/>
        <c:lblAlgn val="ctr"/>
        <c:lblOffset val="100"/>
        <c:noMultiLvlLbl val="0"/>
      </c:catAx>
      <c:valAx>
        <c:axId val="15034035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de-DE"/>
          </a:p>
        </c:txPr>
        <c:crossAx val="150723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dPt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50461</c:v>
                </c:pt>
                <c:pt idx="1">
                  <c:v>50551</c:v>
                </c:pt>
                <c:pt idx="2">
                  <c:v>51471</c:v>
                </c:pt>
                <c:pt idx="3">
                  <c:v>54992</c:v>
                </c:pt>
                <c:pt idx="4">
                  <c:v>55858</c:v>
                </c:pt>
                <c:pt idx="5">
                  <c:v>56587</c:v>
                </c:pt>
                <c:pt idx="6">
                  <c:v>54340</c:v>
                </c:pt>
                <c:pt idx="7">
                  <c:v>51942</c:v>
                </c:pt>
                <c:pt idx="8">
                  <c:v>517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7933056"/>
        <c:axId val="167934592"/>
      </c:barChart>
      <c:catAx>
        <c:axId val="167933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67934592"/>
        <c:crosses val="autoZero"/>
        <c:auto val="1"/>
        <c:lblAlgn val="ctr"/>
        <c:lblOffset val="100"/>
        <c:noMultiLvlLbl val="0"/>
      </c:catAx>
      <c:valAx>
        <c:axId val="167934592"/>
        <c:scaling>
          <c:orientation val="minMax"/>
          <c:max val="57000"/>
          <c:min val="450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67933056"/>
        <c:crosses val="autoZero"/>
        <c:crossBetween val="between"/>
        <c:majorUnit val="50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2"/>
              </a:solidFill>
            </c:spPr>
          </c:dPt>
          <c:dLbls>
            <c:dLbl>
              <c:idx val="2"/>
              <c:layout>
                <c:manualLayout>
                  <c:x val="1.5151515151515152E-3"/>
                  <c:y val="-3.48758018688303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0</c:v>
                </c:pt>
                <c:pt idx="1">
                  <c:v>9</c:v>
                </c:pt>
                <c:pt idx="2">
                  <c:v>-3</c:v>
                </c:pt>
                <c:pt idx="3">
                  <c:v>-27</c:v>
                </c:pt>
                <c:pt idx="4">
                  <c:v>-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1579264"/>
        <c:axId val="167966208"/>
      </c:barChart>
      <c:catAx>
        <c:axId val="151579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67966208"/>
        <c:crosses val="autoZero"/>
        <c:auto val="1"/>
        <c:lblAlgn val="ctr"/>
        <c:lblOffset val="100"/>
        <c:noMultiLvlLbl val="0"/>
      </c:catAx>
      <c:valAx>
        <c:axId val="1679662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515792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87" y="0"/>
            <a:ext cx="2946188" cy="49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62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298" y="4714202"/>
            <a:ext cx="4987079" cy="4466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71" tIns="47786" rIns="95571" bIns="477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Mastertextformat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575"/>
            <a:ext cx="2946189" cy="49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87" y="9431575"/>
            <a:ext cx="2946188" cy="49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pPr>
              <a:defRPr/>
            </a:pPr>
            <a:fld id="{1CE4DFEC-3AAC-41E4-A217-BD4979FCFC7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040804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7"/>
          <p:cNvSpPr>
            <a:spLocks noChangeShapeType="1"/>
          </p:cNvSpPr>
          <p:nvPr userDrawn="1"/>
        </p:nvSpPr>
        <p:spPr bwMode="auto">
          <a:xfrm>
            <a:off x="381000" y="6172200"/>
            <a:ext cx="83820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" name="Line 28"/>
          <p:cNvSpPr>
            <a:spLocks noChangeShapeType="1"/>
          </p:cNvSpPr>
          <p:nvPr userDrawn="1"/>
        </p:nvSpPr>
        <p:spPr bwMode="auto">
          <a:xfrm>
            <a:off x="381000" y="1905000"/>
            <a:ext cx="8382000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4" name="Picture 31" descr="Kopf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950" y="457200"/>
            <a:ext cx="27622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2" descr="Kopf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2600" y="409575"/>
            <a:ext cx="32004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627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7587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67500" y="457200"/>
            <a:ext cx="2095500" cy="53340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81000" y="457200"/>
            <a:ext cx="6134100" cy="53340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454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8382000" cy="8509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81000" y="1447800"/>
            <a:ext cx="4114800" cy="434340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114800" cy="43434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046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381000" y="457200"/>
            <a:ext cx="8382000" cy="8509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81000" y="1447800"/>
            <a:ext cx="4114800" cy="20955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0" y="1447800"/>
            <a:ext cx="4114800" cy="20955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81000" y="3695700"/>
            <a:ext cx="4114800" cy="20955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8200" y="3695700"/>
            <a:ext cx="4114800" cy="20955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8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M 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95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Line 27"/>
          <p:cNvSpPr>
            <a:spLocks noChangeShapeType="1"/>
          </p:cNvSpPr>
          <p:nvPr userDrawn="1"/>
        </p:nvSpPr>
        <p:spPr bwMode="auto">
          <a:xfrm>
            <a:off x="388762" y="6297568"/>
            <a:ext cx="8552758" cy="0"/>
          </a:xfrm>
          <a:prstGeom prst="line">
            <a:avLst/>
          </a:prstGeom>
          <a:noFill/>
          <a:ln w="12700">
            <a:solidFill>
              <a:srgbClr val="0F32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46619" rIns="93236" bIns="46619" anchor="ctr"/>
          <a:lstStyle/>
          <a:p>
            <a:pPr eaLnBrk="1" hangingPunct="1"/>
            <a:endParaRPr lang="de-DE" sz="1200">
              <a:solidFill>
                <a:srgbClr val="5E5E5E"/>
              </a:solidFill>
              <a:ea typeface="+mn-ea"/>
            </a:endParaRPr>
          </a:p>
        </p:txBody>
      </p:sp>
      <p:sp>
        <p:nvSpPr>
          <p:cNvPr id="14" name="Line 28"/>
          <p:cNvSpPr>
            <a:spLocks noChangeShapeType="1"/>
          </p:cNvSpPr>
          <p:nvPr userDrawn="1"/>
        </p:nvSpPr>
        <p:spPr bwMode="auto">
          <a:xfrm>
            <a:off x="388762" y="1943694"/>
            <a:ext cx="8552758" cy="0"/>
          </a:xfrm>
          <a:prstGeom prst="line">
            <a:avLst/>
          </a:prstGeom>
          <a:noFill/>
          <a:ln w="12700">
            <a:solidFill>
              <a:srgbClr val="B918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46619" rIns="93236" bIns="46619" anchor="ctr"/>
          <a:lstStyle/>
          <a:p>
            <a:pPr eaLnBrk="1" hangingPunct="1"/>
            <a:endParaRPr lang="de-DE" sz="1200">
              <a:solidFill>
                <a:srgbClr val="5E5E5E"/>
              </a:solidFill>
              <a:ea typeface="+mn-ea"/>
            </a:endParaRPr>
          </a:p>
        </p:txBody>
      </p:sp>
      <p:pic>
        <p:nvPicPr>
          <p:cNvPr id="15" name="Picture 31" descr="Kopf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324" y="466486"/>
            <a:ext cx="2818522" cy="1030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2" descr="Kopf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5921" y="417901"/>
            <a:ext cx="3265598" cy="102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0998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6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9" y="166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de-DE" sz="1400" dirty="0" smtClean="0">
                <a:solidFill>
                  <a:srgbClr val="808080"/>
                </a:solidFill>
                <a:ea typeface="+mn-ea"/>
              </a:rPr>
              <a:t>TRACKER</a:t>
            </a:r>
            <a:endParaRPr lang="de-DE" sz="1400" dirty="0">
              <a:solidFill>
                <a:srgbClr val="808080"/>
              </a:solidFill>
              <a:ea typeface="+mn-ea"/>
            </a:endParaRP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82166" y="1146782"/>
            <a:ext cx="4350892" cy="521559"/>
            <a:chOff x="915" y="708"/>
            <a:chExt cx="2686" cy="322"/>
          </a:xfrm>
        </p:grpSpPr>
        <p:cxnSp>
          <p:nvCxnSpPr>
            <p:cNvPr id="8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de-DE" sz="1600" b="1" dirty="0" smtClean="0">
                  <a:solidFill>
                    <a:srgbClr val="000000"/>
                  </a:solidFill>
                  <a:ea typeface="+mn-ea"/>
                </a:rPr>
                <a:t>Titel</a:t>
              </a:r>
            </a:p>
            <a:p>
              <a:pPr eaLnBrk="1" hangingPunct="1"/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Unit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of</a:t>
              </a:r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measure</a:t>
              </a:r>
              <a:endParaRPr lang="de-DE" sz="1600" dirty="0">
                <a:solidFill>
                  <a:srgbClr val="808080"/>
                </a:solidFill>
                <a:ea typeface="+mn-ea"/>
              </a:endParaRP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 rot="5400000">
            <a:off x="8054593" y="2762353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 rot="5400000">
            <a:off x="8574729" y="4301131"/>
            <a:ext cx="99605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21495" y="237336"/>
            <a:ext cx="7714012" cy="298327"/>
          </a:xfrm>
        </p:spPr>
        <p:txBody>
          <a:bodyPr anchor="ctr"/>
          <a:lstStyle>
            <a:lvl1pPr>
              <a:defRPr b="0">
                <a:solidFill>
                  <a:srgbClr val="0F3286"/>
                </a:solidFill>
              </a:defRPr>
            </a:lvl1pPr>
          </a:lstStyle>
          <a:p>
            <a:r>
              <a:rPr lang="de-DE" dirty="0" smtClean="0"/>
              <a:t>Action Title</a:t>
            </a:r>
            <a:endParaRPr lang="de-DE" dirty="0"/>
          </a:p>
        </p:txBody>
      </p:sp>
      <p:cxnSp>
        <p:nvCxnSpPr>
          <p:cNvPr id="77" name="Gerader Verbinder 76"/>
          <p:cNvCxnSpPr>
            <a:cxnSpLocks/>
          </p:cNvCxnSpPr>
          <p:nvPr userDrawn="1"/>
        </p:nvCxnSpPr>
        <p:spPr>
          <a:xfrm>
            <a:off x="6923438" y="-5784"/>
            <a:ext cx="2132603" cy="0"/>
          </a:xfrm>
          <a:prstGeom prst="line">
            <a:avLst/>
          </a:prstGeom>
          <a:ln>
            <a:solidFill>
              <a:srgbClr val="9D95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8" descr="Kopf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95" y="6256229"/>
            <a:ext cx="1472428" cy="53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9" descr="Kopf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502" y="6228065"/>
            <a:ext cx="1725917" cy="5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23"/>
          <p:cNvSpPr>
            <a:spLocks noGrp="1"/>
          </p:cNvSpPr>
          <p:nvPr>
            <p:ph type="body" sz="quarter" idx="1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233094" indent="-233094">
              <a:buNone/>
              <a:tabLst>
                <a:tab pos="185514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lvl="0" indent="0"/>
            <a:endParaRPr lang="de-DE" dirty="0" smtClean="0"/>
          </a:p>
        </p:txBody>
      </p:sp>
      <p:sp>
        <p:nvSpPr>
          <p:cNvPr id="20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marR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marR="0" lvl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de-DE" dirty="0" smtClean="0"/>
          </a:p>
        </p:txBody>
      </p:sp>
      <p:sp>
        <p:nvSpPr>
          <p:cNvPr id="22" name="Text Box 34"/>
          <p:cNvSpPr txBox="1">
            <a:spLocks noChangeArrowheads="1"/>
          </p:cNvSpPr>
          <p:nvPr userDrawn="1"/>
        </p:nvSpPr>
        <p:spPr bwMode="auto">
          <a:xfrm>
            <a:off x="2721332" y="6574545"/>
            <a:ext cx="388761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9pPr>
          </a:lstStyle>
          <a:p>
            <a:pPr algn="ctr" eaLnBrk="1" hangingPunct="1">
              <a:defRPr/>
            </a:pPr>
            <a:r>
              <a:rPr lang="de-DE" altLang="de-DE" sz="1000" dirty="0" smtClean="0">
                <a:solidFill>
                  <a:srgbClr val="B9181E"/>
                </a:solidFill>
              </a:rPr>
              <a:t>Betriebsversammlung I Folie </a:t>
            </a:r>
            <a:fld id="{E2CAAACB-784F-4601-980E-D20C84AAE9ED}" type="slidenum">
              <a:rPr lang="de-DE" altLang="de-DE" sz="1000" smtClean="0">
                <a:solidFill>
                  <a:srgbClr val="B9181E"/>
                </a:solidFill>
              </a:rPr>
              <a:pPr algn="ctr" eaLnBrk="1" hangingPunct="1">
                <a:defRPr/>
              </a:pPr>
              <a:t>‹Nr.›</a:t>
            </a:fld>
            <a:r>
              <a:rPr lang="de-DE" altLang="de-DE" sz="1000" dirty="0" smtClean="0">
                <a:solidFill>
                  <a:srgbClr val="B9181E"/>
                </a:solidFill>
              </a:rPr>
              <a:t> I 26. Juli 2016</a:t>
            </a:r>
          </a:p>
        </p:txBody>
      </p:sp>
    </p:spTree>
    <p:extLst>
      <p:ext uri="{BB962C8B-B14F-4D97-AF65-F5344CB8AC3E}">
        <p14:creationId xmlns:p14="http://schemas.microsoft.com/office/powerpoint/2010/main" val="34644249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61">
          <p15:clr>
            <a:srgbClr val="FBAE40"/>
          </p15:clr>
        </p15:guide>
        <p15:guide id="2" pos="2822">
          <p15:clr>
            <a:srgbClr val="FBAE40"/>
          </p15:clr>
        </p15:guide>
        <p15:guide id="3" orient="horz" pos="397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6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9" y="166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de-DE" sz="1400" dirty="0" smtClean="0">
                <a:solidFill>
                  <a:srgbClr val="808080"/>
                </a:solidFill>
                <a:ea typeface="+mn-ea"/>
              </a:rPr>
              <a:t>TRACKER</a:t>
            </a:r>
            <a:endParaRPr lang="de-DE" sz="1400" dirty="0">
              <a:solidFill>
                <a:srgbClr val="808080"/>
              </a:solidFill>
              <a:ea typeface="+mn-ea"/>
            </a:endParaRP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82166" y="1146782"/>
            <a:ext cx="4350892" cy="521559"/>
            <a:chOff x="915" y="708"/>
            <a:chExt cx="2686" cy="322"/>
          </a:xfrm>
        </p:grpSpPr>
        <p:cxnSp>
          <p:nvCxnSpPr>
            <p:cNvPr id="8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de-DE" sz="1600" b="1" dirty="0" smtClean="0">
                  <a:solidFill>
                    <a:srgbClr val="000000"/>
                  </a:solidFill>
                  <a:ea typeface="+mn-ea"/>
                </a:rPr>
                <a:t>Titel</a:t>
              </a:r>
            </a:p>
            <a:p>
              <a:pPr eaLnBrk="1" hangingPunct="1"/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Unit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of</a:t>
              </a:r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measure</a:t>
              </a:r>
              <a:endParaRPr lang="de-DE" sz="1600" dirty="0">
                <a:solidFill>
                  <a:srgbClr val="808080"/>
                </a:solidFill>
                <a:ea typeface="+mn-ea"/>
              </a:endParaRP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 rot="5400000">
            <a:off x="8054593" y="2762353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 rot="5400000">
            <a:off x="8574729" y="4301131"/>
            <a:ext cx="99605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495" y="1044736"/>
            <a:ext cx="2690660" cy="1256112"/>
          </a:xfrm>
        </p:spPr>
        <p:txBody>
          <a:bodyPr wrap="none">
            <a:spAutoFit/>
          </a:bodyPr>
          <a:lstStyle>
            <a:lvl1pPr>
              <a:defRPr sz="1600">
                <a:solidFill>
                  <a:srgbClr val="5E5E5E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3pPr>
            <a:lvl4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4pPr>
            <a:lvl5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21" name="Picture 28" descr="Kopf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95" y="6256229"/>
            <a:ext cx="1472428" cy="53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9" descr="Kopf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502" y="6228065"/>
            <a:ext cx="1725917" cy="5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platzhalt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233094" indent="-233094">
              <a:buNone/>
              <a:tabLst>
                <a:tab pos="185514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lvl="0" indent="0"/>
            <a:r>
              <a:rPr lang="de-DE" dirty="0" smtClean="0"/>
              <a:t>Fußno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marR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marR="0" lvl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de-DE" dirty="0" smtClean="0"/>
          </a:p>
        </p:txBody>
      </p:sp>
      <p:sp>
        <p:nvSpPr>
          <p:cNvPr id="17" name="Title 2"/>
          <p:cNvSpPr>
            <a:spLocks noGrp="1"/>
          </p:cNvSpPr>
          <p:nvPr>
            <p:ph type="title" idx="4294967295"/>
          </p:nvPr>
        </p:nvSpPr>
        <p:spPr>
          <a:xfrm>
            <a:off x="121495" y="88167"/>
            <a:ext cx="8542338" cy="298327"/>
          </a:xfrm>
        </p:spPr>
        <p:txBody>
          <a:bodyPr/>
          <a:lstStyle>
            <a:lvl1pPr>
              <a:defRPr b="0"/>
            </a:lvl1pPr>
          </a:lstStyle>
          <a:p>
            <a:endParaRPr lang="de-DE" dirty="0"/>
          </a:p>
        </p:txBody>
      </p:sp>
      <p:sp>
        <p:nvSpPr>
          <p:cNvPr id="18" name="Text Box 34"/>
          <p:cNvSpPr txBox="1">
            <a:spLocks noChangeArrowheads="1"/>
          </p:cNvSpPr>
          <p:nvPr userDrawn="1"/>
        </p:nvSpPr>
        <p:spPr bwMode="auto">
          <a:xfrm>
            <a:off x="2721332" y="6574545"/>
            <a:ext cx="388761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9pPr>
          </a:lstStyle>
          <a:p>
            <a:pPr algn="ctr" eaLnBrk="1" hangingPunct="1">
              <a:defRPr/>
            </a:pPr>
            <a:r>
              <a:rPr lang="de-DE" altLang="de-DE" sz="1000" dirty="0" smtClean="0">
                <a:solidFill>
                  <a:srgbClr val="B9181E"/>
                </a:solidFill>
              </a:rPr>
              <a:t>Betriebsversammlung I Folie </a:t>
            </a:r>
            <a:fld id="{E2CAAACB-784F-4601-980E-D20C84AAE9ED}" type="slidenum">
              <a:rPr lang="de-DE" altLang="de-DE" sz="1000" smtClean="0">
                <a:solidFill>
                  <a:srgbClr val="B9181E"/>
                </a:solidFill>
              </a:rPr>
              <a:pPr algn="ctr" eaLnBrk="1" hangingPunct="1">
                <a:defRPr/>
              </a:pPr>
              <a:t>‹Nr.›</a:t>
            </a:fld>
            <a:r>
              <a:rPr lang="de-DE" altLang="de-DE" sz="1000" dirty="0" smtClean="0">
                <a:solidFill>
                  <a:srgbClr val="B9181E"/>
                </a:solidFill>
              </a:rPr>
              <a:t> I 26. Juli 2016</a:t>
            </a:r>
          </a:p>
        </p:txBody>
      </p:sp>
    </p:spTree>
    <p:extLst>
      <p:ext uri="{BB962C8B-B14F-4D97-AF65-F5344CB8AC3E}">
        <p14:creationId xmlns:p14="http://schemas.microsoft.com/office/powerpoint/2010/main" val="12938558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61">
          <p15:clr>
            <a:srgbClr val="FBAE40"/>
          </p15:clr>
        </p15:guide>
        <p15:guide id="2" pos="2822">
          <p15:clr>
            <a:srgbClr val="FBAE40"/>
          </p15:clr>
        </p15:guide>
        <p15:guide id="3" orient="horz" pos="3977">
          <p15:clr>
            <a:srgbClr val="FBAE40"/>
          </p15:clr>
        </p15:guide>
        <p15:guide id="4" orient="horz" pos="3818">
          <p15:clr>
            <a:srgbClr val="FBAE40"/>
          </p15:clr>
        </p15:guide>
        <p15:guide id="5" orient="horz" pos="386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6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9" y="166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de-DE" sz="1400" dirty="0" smtClean="0">
                <a:solidFill>
                  <a:srgbClr val="808080"/>
                </a:solidFill>
                <a:ea typeface="+mn-ea"/>
              </a:rPr>
              <a:t>TRACKER</a:t>
            </a:r>
            <a:endParaRPr lang="de-DE" sz="1400" dirty="0">
              <a:solidFill>
                <a:srgbClr val="808080"/>
              </a:solidFill>
              <a:ea typeface="+mn-ea"/>
            </a:endParaRP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82166" y="1146782"/>
            <a:ext cx="4350892" cy="521559"/>
            <a:chOff x="915" y="708"/>
            <a:chExt cx="2686" cy="322"/>
          </a:xfrm>
        </p:grpSpPr>
        <p:cxnSp>
          <p:nvCxnSpPr>
            <p:cNvPr id="8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de-DE" sz="1600" b="1" dirty="0" smtClean="0">
                  <a:solidFill>
                    <a:srgbClr val="000000"/>
                  </a:solidFill>
                  <a:ea typeface="+mn-ea"/>
                </a:rPr>
                <a:t>Titel</a:t>
              </a:r>
            </a:p>
            <a:p>
              <a:pPr eaLnBrk="1" hangingPunct="1"/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Unit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of</a:t>
              </a:r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measure</a:t>
              </a:r>
              <a:endParaRPr lang="de-DE" sz="1600" dirty="0">
                <a:solidFill>
                  <a:srgbClr val="808080"/>
                </a:solidFill>
                <a:ea typeface="+mn-ea"/>
              </a:endParaRP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 rot="5400000">
            <a:off x="8054593" y="2762353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 rot="5400000">
            <a:off x="8574729" y="4301131"/>
            <a:ext cx="99605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495" y="1044736"/>
            <a:ext cx="2690660" cy="1256112"/>
          </a:xfrm>
        </p:spPr>
        <p:txBody>
          <a:bodyPr wrap="none">
            <a:spAutoFit/>
          </a:bodyPr>
          <a:lstStyle>
            <a:lvl1pPr>
              <a:defRPr sz="1600">
                <a:solidFill>
                  <a:srgbClr val="5E5E5E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3pPr>
            <a:lvl4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4pPr>
            <a:lvl5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21495" y="237336"/>
            <a:ext cx="7714012" cy="298327"/>
          </a:xfrm>
        </p:spPr>
        <p:txBody>
          <a:bodyPr anchor="ctr"/>
          <a:lstStyle>
            <a:lvl1pPr>
              <a:defRPr b="0">
                <a:solidFill>
                  <a:srgbClr val="0F3286"/>
                </a:solidFill>
              </a:defRPr>
            </a:lvl1pPr>
          </a:lstStyle>
          <a:p>
            <a:r>
              <a:rPr lang="de-DE" dirty="0" smtClean="0"/>
              <a:t>Action Title</a:t>
            </a:r>
            <a:endParaRPr lang="de-DE" dirty="0"/>
          </a:p>
        </p:txBody>
      </p:sp>
      <p:pic>
        <p:nvPicPr>
          <p:cNvPr id="21" name="Picture 28" descr="Kopf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95" y="6256229"/>
            <a:ext cx="1472428" cy="53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9" descr="Kopf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502" y="6228065"/>
            <a:ext cx="1725917" cy="5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platzhalt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233094" indent="-233094">
              <a:buNone/>
              <a:tabLst>
                <a:tab pos="185514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lvl="0" indent="0"/>
            <a:r>
              <a:rPr lang="de-DE" dirty="0" smtClean="0"/>
              <a:t>Fußno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marR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marR="0" lvl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de-DE" dirty="0" smtClean="0"/>
          </a:p>
        </p:txBody>
      </p:sp>
      <p:sp>
        <p:nvSpPr>
          <p:cNvPr id="19" name="Text Box 34"/>
          <p:cNvSpPr txBox="1">
            <a:spLocks noChangeArrowheads="1"/>
          </p:cNvSpPr>
          <p:nvPr userDrawn="1"/>
        </p:nvSpPr>
        <p:spPr bwMode="auto">
          <a:xfrm>
            <a:off x="2721332" y="6574545"/>
            <a:ext cx="388761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9pPr>
          </a:lstStyle>
          <a:p>
            <a:pPr algn="ctr" eaLnBrk="1" hangingPunct="1">
              <a:defRPr/>
            </a:pPr>
            <a:r>
              <a:rPr lang="de-DE" altLang="de-DE" sz="1000" dirty="0" smtClean="0">
                <a:solidFill>
                  <a:srgbClr val="B9181E"/>
                </a:solidFill>
              </a:rPr>
              <a:t>Betriebsversammlung I Folie </a:t>
            </a:r>
            <a:fld id="{E2CAAACB-784F-4601-980E-D20C84AAE9ED}" type="slidenum">
              <a:rPr lang="de-DE" altLang="de-DE" sz="1000" smtClean="0">
                <a:solidFill>
                  <a:srgbClr val="B9181E"/>
                </a:solidFill>
              </a:rPr>
              <a:pPr algn="ctr" eaLnBrk="1" hangingPunct="1">
                <a:defRPr/>
              </a:pPr>
              <a:t>‹Nr.›</a:t>
            </a:fld>
            <a:r>
              <a:rPr lang="de-DE" altLang="de-DE" sz="1000" dirty="0" smtClean="0">
                <a:solidFill>
                  <a:srgbClr val="B9181E"/>
                </a:solidFill>
              </a:rPr>
              <a:t> I 26. Juli 2016</a:t>
            </a:r>
          </a:p>
        </p:txBody>
      </p:sp>
    </p:spTree>
    <p:extLst>
      <p:ext uri="{BB962C8B-B14F-4D97-AF65-F5344CB8AC3E}">
        <p14:creationId xmlns:p14="http://schemas.microsoft.com/office/powerpoint/2010/main" val="849366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61">
          <p15:clr>
            <a:srgbClr val="FBAE40"/>
          </p15:clr>
        </p15:guide>
        <p15:guide id="2" pos="2822">
          <p15:clr>
            <a:srgbClr val="FBAE40"/>
          </p15:clr>
        </p15:guide>
        <p15:guide id="3" orient="horz" pos="3977">
          <p15:clr>
            <a:srgbClr val="FBAE40"/>
          </p15:clr>
        </p15:guide>
        <p15:guide id="4" orient="horz" pos="3818">
          <p15:clr>
            <a:srgbClr val="FBAE40"/>
          </p15:clr>
        </p15:guide>
        <p15:guide id="5" orient="horz" pos="386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59" y="166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9" y="166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de-DE" sz="1400" dirty="0" smtClean="0">
                <a:solidFill>
                  <a:srgbClr val="808080"/>
                </a:solidFill>
                <a:ea typeface="+mn-ea"/>
              </a:rPr>
              <a:t>TRACKER</a:t>
            </a:r>
            <a:endParaRPr lang="de-DE" sz="1400" dirty="0">
              <a:solidFill>
                <a:srgbClr val="808080"/>
              </a:solidFill>
              <a:ea typeface="+mn-ea"/>
            </a:endParaRP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82166" y="1146782"/>
            <a:ext cx="4350892" cy="521559"/>
            <a:chOff x="915" y="708"/>
            <a:chExt cx="2686" cy="322"/>
          </a:xfrm>
        </p:grpSpPr>
        <p:cxnSp>
          <p:nvCxnSpPr>
            <p:cNvPr id="8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de-DE" sz="1600" b="1" dirty="0" smtClean="0">
                  <a:solidFill>
                    <a:srgbClr val="000000"/>
                  </a:solidFill>
                  <a:ea typeface="+mn-ea"/>
                </a:rPr>
                <a:t>Titel</a:t>
              </a:r>
            </a:p>
            <a:p>
              <a:pPr eaLnBrk="1" hangingPunct="1"/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Unit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of</a:t>
              </a:r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measure</a:t>
              </a:r>
              <a:endParaRPr lang="de-DE" sz="1600" dirty="0">
                <a:solidFill>
                  <a:srgbClr val="808080"/>
                </a:solidFill>
                <a:ea typeface="+mn-ea"/>
              </a:endParaRP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 rot="5400000">
            <a:off x="8054593" y="2762353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 rot="5400000">
            <a:off x="8574729" y="4301131"/>
            <a:ext cx="99605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495" y="1044736"/>
            <a:ext cx="2690660" cy="1256112"/>
          </a:xfrm>
        </p:spPr>
        <p:txBody>
          <a:bodyPr wrap="none">
            <a:spAutoFit/>
          </a:bodyPr>
          <a:lstStyle>
            <a:lvl1pPr>
              <a:defRPr sz="1600">
                <a:solidFill>
                  <a:srgbClr val="5E5E5E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3pPr>
            <a:lvl4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4pPr>
            <a:lvl5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21" name="Picture 28" descr="Kopf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95" y="6256229"/>
            <a:ext cx="1472428" cy="53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9" descr="Kopf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502" y="6228065"/>
            <a:ext cx="1725917" cy="54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platzhalt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233094" indent="-233094">
              <a:buNone/>
              <a:tabLst>
                <a:tab pos="185514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lvl="0" indent="0"/>
            <a:r>
              <a:rPr lang="de-DE" dirty="0" smtClean="0"/>
              <a:t>Fußnote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marR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marL="0" marR="0" lvl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de-DE" dirty="0" smtClean="0"/>
          </a:p>
        </p:txBody>
      </p:sp>
      <p:sp>
        <p:nvSpPr>
          <p:cNvPr id="17" name="Title 2"/>
          <p:cNvSpPr>
            <a:spLocks noGrp="1"/>
          </p:cNvSpPr>
          <p:nvPr>
            <p:ph type="title" idx="4294967295"/>
          </p:nvPr>
        </p:nvSpPr>
        <p:spPr>
          <a:xfrm>
            <a:off x="121495" y="88167"/>
            <a:ext cx="8542338" cy="298327"/>
          </a:xfrm>
        </p:spPr>
        <p:txBody>
          <a:bodyPr/>
          <a:lstStyle>
            <a:lvl1pPr>
              <a:defRPr b="0"/>
            </a:lvl1pPr>
          </a:lstStyle>
          <a:p>
            <a:endParaRPr lang="de-DE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8745772" y="6634962"/>
            <a:ext cx="451770" cy="251222"/>
          </a:xfrm>
          <a:prstGeom prst="rect">
            <a:avLst/>
          </a:prstGeom>
        </p:spPr>
        <p:txBody>
          <a:bodyPr wrap="none" lIns="93236" tIns="46619" rIns="93236" bIns="46619">
            <a:spAutoFit/>
          </a:bodyPr>
          <a:lstStyle/>
          <a:p>
            <a:pPr eaLnBrk="1" hangingPunct="1"/>
            <a:fld id="{BC8079DC-B500-4F52-87EE-374AD03E916B}" type="slidenum">
              <a:rPr lang="de-DE" sz="1000" smtClean="0">
                <a:solidFill>
                  <a:srgbClr val="5E5E5E"/>
                </a:solidFill>
                <a:ea typeface="+mn-ea"/>
              </a:rPr>
              <a:pPr eaLnBrk="1" hangingPunct="1"/>
              <a:t>‹Nr.›</a:t>
            </a:fld>
            <a:endParaRPr lang="de-DE" sz="1000" dirty="0">
              <a:solidFill>
                <a:srgbClr val="5E5E5E"/>
              </a:solidFill>
              <a:ea typeface="+mn-ea"/>
            </a:endParaRPr>
          </a:p>
        </p:txBody>
      </p:sp>
      <p:sp>
        <p:nvSpPr>
          <p:cNvPr id="18" name="Text Box 34"/>
          <p:cNvSpPr txBox="1">
            <a:spLocks noChangeArrowheads="1"/>
          </p:cNvSpPr>
          <p:nvPr userDrawn="1"/>
        </p:nvSpPr>
        <p:spPr bwMode="auto">
          <a:xfrm>
            <a:off x="2721332" y="6574545"/>
            <a:ext cx="3887617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0" charset="-128"/>
              </a:defRPr>
            </a:lvl9pPr>
          </a:lstStyle>
          <a:p>
            <a:pPr algn="ctr" eaLnBrk="1" hangingPunct="1">
              <a:defRPr/>
            </a:pPr>
            <a:r>
              <a:rPr lang="de-DE" altLang="de-DE" sz="1000" dirty="0" smtClean="0">
                <a:solidFill>
                  <a:srgbClr val="B9181E"/>
                </a:solidFill>
              </a:rPr>
              <a:t>Betriebsversammlung I Folie </a:t>
            </a:r>
            <a:fld id="{E2CAAACB-784F-4601-980E-D20C84AAE9ED}" type="slidenum">
              <a:rPr lang="de-DE" altLang="de-DE" sz="1000" smtClean="0">
                <a:solidFill>
                  <a:srgbClr val="B9181E"/>
                </a:solidFill>
              </a:rPr>
              <a:pPr algn="ctr" eaLnBrk="1" hangingPunct="1">
                <a:defRPr/>
              </a:pPr>
              <a:t>‹Nr.›</a:t>
            </a:fld>
            <a:r>
              <a:rPr lang="de-DE" altLang="de-DE" sz="1000" dirty="0" smtClean="0">
                <a:solidFill>
                  <a:srgbClr val="B9181E"/>
                </a:solidFill>
              </a:rPr>
              <a:t> I 26. Juli 2016</a:t>
            </a:r>
          </a:p>
        </p:txBody>
      </p:sp>
    </p:spTree>
    <p:extLst>
      <p:ext uri="{BB962C8B-B14F-4D97-AF65-F5344CB8AC3E}">
        <p14:creationId xmlns:p14="http://schemas.microsoft.com/office/powerpoint/2010/main" val="14346657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61">
          <p15:clr>
            <a:srgbClr val="FBAE40"/>
          </p15:clr>
        </p15:guide>
        <p15:guide id="2" pos="2822">
          <p15:clr>
            <a:srgbClr val="FBAE40"/>
          </p15:clr>
        </p15:guide>
        <p15:guide id="3" orient="horz" pos="3977">
          <p15:clr>
            <a:srgbClr val="FBAE40"/>
          </p15:clr>
        </p15:guide>
        <p15:guide id="4" orient="horz" pos="3818">
          <p15:clr>
            <a:srgbClr val="FBAE40"/>
          </p15:clr>
        </p15:guide>
        <p15:guide id="5" orient="horz" pos="386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7"/>
          <p:cNvSpPr>
            <a:spLocks noChangeShapeType="1"/>
          </p:cNvSpPr>
          <p:nvPr userDrawn="1"/>
        </p:nvSpPr>
        <p:spPr bwMode="auto">
          <a:xfrm>
            <a:off x="381006" y="6172201"/>
            <a:ext cx="8382001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72" tIns="45686" rIns="91372" bIns="45686" anchor="ctr"/>
          <a:lstStyle/>
          <a:p>
            <a:pPr eaLnBrk="1" hangingPunct="1"/>
            <a:endParaRPr lang="de-DE" sz="1200">
              <a:solidFill>
                <a:srgbClr val="5E5E5E"/>
              </a:solidFill>
              <a:ea typeface="+mn-ea"/>
            </a:endParaRPr>
          </a:p>
        </p:txBody>
      </p:sp>
      <p:sp>
        <p:nvSpPr>
          <p:cNvPr id="3" name="Line 28"/>
          <p:cNvSpPr>
            <a:spLocks noChangeShapeType="1"/>
          </p:cNvSpPr>
          <p:nvPr userDrawn="1"/>
        </p:nvSpPr>
        <p:spPr bwMode="auto">
          <a:xfrm>
            <a:off x="381006" y="1905000"/>
            <a:ext cx="8382001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72" tIns="45686" rIns="91372" bIns="45686" anchor="ctr"/>
          <a:lstStyle/>
          <a:p>
            <a:pPr eaLnBrk="1" hangingPunct="1"/>
            <a:endParaRPr lang="de-DE" sz="1200">
              <a:solidFill>
                <a:srgbClr val="5E5E5E"/>
              </a:solidFill>
              <a:ea typeface="+mn-ea"/>
            </a:endParaRPr>
          </a:p>
        </p:txBody>
      </p:sp>
      <p:pic>
        <p:nvPicPr>
          <p:cNvPr id="4" name="Picture 31" descr="Kopf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956" y="457200"/>
            <a:ext cx="27622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2" descr="Kopf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2606" y="409582"/>
            <a:ext cx="320040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5963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2049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9587" y="1146779"/>
            <a:ext cx="2690660" cy="12561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9402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1495" y="27536"/>
            <a:ext cx="876333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altLang="de-DE" sz="1400" smtClean="0">
                <a:solidFill>
                  <a:srgbClr val="808080"/>
                </a:solidFill>
                <a:ea typeface="+mn-ea"/>
                <a:cs typeface="Arial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82161" y="1146782"/>
            <a:ext cx="4350892" cy="521559"/>
            <a:chOff x="915" y="708"/>
            <a:chExt cx="2686" cy="322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00" b="1" smtClean="0">
                  <a:solidFill>
                    <a:srgbClr val="000000"/>
                  </a:solidFill>
                  <a:ea typeface="+mn-ea"/>
                  <a:cs typeface="Arial" charset="0"/>
                </a:rPr>
                <a:t>Titel</a:t>
              </a:r>
            </a:p>
            <a:p>
              <a:pPr eaLnBrk="1" hangingPunct="1">
                <a:defRPr/>
              </a:pPr>
              <a:r>
                <a:rPr lang="de-DE" altLang="de-DE" sz="1600" smtClean="0">
                  <a:solidFill>
                    <a:srgbClr val="808080"/>
                  </a:solidFill>
                  <a:ea typeface="+mn-ea"/>
                  <a:cs typeface="Arial" charset="0"/>
                </a:rPr>
                <a:t>Unit of measure</a:t>
              </a:r>
            </a:p>
          </p:txBody>
        </p:sp>
      </p:grpSp>
      <p:sp>
        <p:nvSpPr>
          <p:cNvPr id="12" name="Working Draft" hidden="1"/>
          <p:cNvSpPr txBox="1">
            <a:spLocks noChangeArrowheads="1"/>
          </p:cNvSpPr>
          <p:nvPr/>
        </p:nvSpPr>
        <p:spPr bwMode="auto">
          <a:xfrm rot="5400000">
            <a:off x="8054717" y="2762478"/>
            <a:ext cx="2036020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/>
        </p:nvSpPr>
        <p:spPr bwMode="auto">
          <a:xfrm rot="5400000">
            <a:off x="8574662" y="4301236"/>
            <a:ext cx="996143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14" name="Picture 28" descr="Kopf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89" y="6255455"/>
            <a:ext cx="1472434" cy="537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Kop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820" y="6227920"/>
            <a:ext cx="1725130" cy="542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495" y="1044736"/>
            <a:ext cx="2690660" cy="1256112"/>
          </a:xfrm>
        </p:spPr>
        <p:txBody>
          <a:bodyPr/>
          <a:lstStyle>
            <a:lvl1pPr>
              <a:defRPr sz="1600">
                <a:solidFill>
                  <a:srgbClr val="5E5E5E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3pPr>
            <a:lvl4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4pPr>
            <a:lvl5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495" y="237336"/>
            <a:ext cx="7714012" cy="298327"/>
          </a:xfrm>
        </p:spPr>
        <p:txBody>
          <a:bodyPr anchor="ctr"/>
          <a:lstStyle>
            <a:lvl1pPr>
              <a:defRPr b="0">
                <a:solidFill>
                  <a:srgbClr val="0F3286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/>
          <a:lstStyle>
            <a:lvl1pPr marL="233094" indent="-233094">
              <a:buNone/>
              <a:tabLst>
                <a:tab pos="185514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>
            <a:lvl1pPr marL="0" marR="0" indent="0" algn="l" defTabSz="9098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13"/>
          </p:nvPr>
        </p:nvSpPr>
        <p:spPr>
          <a:xfrm>
            <a:off x="8975543" y="6636102"/>
            <a:ext cx="106909" cy="157115"/>
          </a:xfrm>
          <a:prstGeom prst="rect">
            <a:avLst/>
          </a:prstGeom>
        </p:spPr>
        <p:txBody>
          <a:bodyPr lIns="93236" tIns="46619" rIns="93236" bIns="46619"/>
          <a:lstStyle>
            <a:lvl1pPr>
              <a:defRPr smtClean="0"/>
            </a:lvl1pPr>
          </a:lstStyle>
          <a:p>
            <a:pPr eaLnBrk="1" hangingPunct="1">
              <a:defRPr/>
            </a:pPr>
            <a:fld id="{96AF92F6-8F78-45FE-898F-596C696A8ED5}" type="slidenum">
              <a:rPr lang="de-DE" altLang="de-DE" sz="1200">
                <a:solidFill>
                  <a:srgbClr val="5E5E5E"/>
                </a:solidFill>
                <a:ea typeface="+mn-ea"/>
              </a:rPr>
              <a:pPr eaLnBrk="1" hangingPunct="1">
                <a:defRPr/>
              </a:pPr>
              <a:t>‹Nr.›</a:t>
            </a:fld>
            <a:r>
              <a:rPr lang="de-DE" altLang="de-DE" sz="1200">
                <a:solidFill>
                  <a:srgbClr val="5E5E5E"/>
                </a:solidFill>
                <a:ea typeface="+mn-e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01510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6F004F7F-F87B-4B81-8F78-61DDB66527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98444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4B6654D-CA95-4D44-9251-FBDDE802220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2241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0AD45076-44DF-47D9-84F5-18331B52D4D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27814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5476B41-D2FF-4F9B-A9CB-5C4C3F415B7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61176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E913009-8B5D-49E9-82F4-C463B1A358D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9759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05183E6-A838-47F1-BE98-16C1DD9572B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1219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56BB09D-2DA6-49AF-9AAE-D9297055E8D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63508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A3BC66E-72F3-4F30-BE85-275FB55EFED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46391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1069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C80582C-5877-4DBD-87A0-B03F8ACAFAE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9903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76AC810C-3038-4A4F-B10E-30CFBA466D0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88874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D1E47A7E-D95D-4D4C-9C73-576905396F2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1758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1489" y="27536"/>
            <a:ext cx="876333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altLang="de-DE" sz="1400" smtClean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</a:rPr>
              <a:t>of</a:t>
            </a:r>
            <a:r>
              <a:rPr lang="de-DE" sz="1400" dirty="0" smtClean="0">
                <a:solidFill>
                  <a:srgbClr val="808080"/>
                </a:solidFill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</a:rPr>
              <a:t>measure</a:t>
            </a:r>
            <a:endParaRPr lang="de-DE" sz="1400" dirty="0" smtClean="0">
              <a:solidFill>
                <a:srgbClr val="808080"/>
              </a:solidFill>
            </a:endParaRP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82155" y="1158119"/>
            <a:ext cx="4350892" cy="510220"/>
            <a:chOff x="915" y="715"/>
            <a:chExt cx="2686" cy="315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00" b="1" smtClean="0">
                  <a:solidFill>
                    <a:srgbClr val="000000"/>
                  </a:solidFill>
                  <a:cs typeface="Arial" charset="0"/>
                </a:rPr>
                <a:t>Titel</a:t>
              </a:r>
            </a:p>
            <a:p>
              <a:pPr eaLnBrk="1" hangingPunct="1">
                <a:defRPr/>
              </a:pPr>
              <a:r>
                <a:rPr lang="de-DE" altLang="de-DE" sz="1600" smtClean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2" name="Working Draft" hidden="1"/>
          <p:cNvSpPr txBox="1">
            <a:spLocks noChangeArrowheads="1"/>
          </p:cNvSpPr>
          <p:nvPr/>
        </p:nvSpPr>
        <p:spPr bwMode="auto">
          <a:xfrm rot="5400000">
            <a:off x="8054717" y="2762472"/>
            <a:ext cx="2036020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/>
        </p:nvSpPr>
        <p:spPr bwMode="auto">
          <a:xfrm rot="5400000">
            <a:off x="8574656" y="4301230"/>
            <a:ext cx="996143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</a:rPr>
              <a:t> 27.11.2012 16:43:07</a:t>
            </a:r>
            <a:endParaRPr lang="de-DE" b="0" dirty="0" smtClean="0">
              <a:solidFill>
                <a:srgbClr val="000000"/>
              </a:solidFill>
            </a:endParaRPr>
          </a:p>
        </p:txBody>
      </p:sp>
      <p:pic>
        <p:nvPicPr>
          <p:cNvPr id="14" name="Picture 28" descr="Kopf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489" y="6255455"/>
            <a:ext cx="1472434" cy="537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Kop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820" y="6227920"/>
            <a:ext cx="1725130" cy="542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21495" y="1044736"/>
            <a:ext cx="2690660" cy="1256112"/>
          </a:xfrm>
        </p:spPr>
        <p:txBody>
          <a:bodyPr/>
          <a:lstStyle>
            <a:lvl1pPr>
              <a:defRPr sz="1600">
                <a:solidFill>
                  <a:srgbClr val="5E5E5E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2pPr>
            <a:lvl3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3pPr>
            <a:lvl4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4pPr>
            <a:lvl5pPr>
              <a:buClr>
                <a:schemeClr val="tx2"/>
              </a:buClr>
              <a:defRPr sz="1600">
                <a:solidFill>
                  <a:srgbClr val="5E5E5E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495" y="237330"/>
            <a:ext cx="7714012" cy="298327"/>
          </a:xfrm>
        </p:spPr>
        <p:txBody>
          <a:bodyPr anchor="ctr"/>
          <a:lstStyle>
            <a:lvl1pPr>
              <a:defRPr b="0">
                <a:solidFill>
                  <a:srgbClr val="0F3286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1"/>
          </p:nvPr>
        </p:nvSpPr>
        <p:spPr>
          <a:xfrm>
            <a:off x="1593923" y="6284712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/>
          <a:lstStyle>
            <a:lvl1pPr marL="233241" indent="-233241">
              <a:buNone/>
              <a:tabLst>
                <a:tab pos="185632" algn="l"/>
              </a:tabLst>
              <a:defRPr lang="de-DE" sz="1000" b="0" i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593923" y="6636235"/>
            <a:ext cx="5722572" cy="15701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/>
          <a:lstStyle>
            <a:lvl1pPr marL="0" marR="0" indent="0" algn="l" defTabSz="9103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de-DE" sz="1000" b="0" kern="1200" baseline="0" smtClean="0">
                <a:solidFill>
                  <a:schemeClr val="tx1"/>
                </a:solidFill>
              </a:defRPr>
            </a:lvl1pPr>
            <a:lvl2pPr>
              <a:defRPr lang="de-DE" b="1" kern="1200" smtClean="0">
                <a:ea typeface="+mn-ea"/>
                <a:cs typeface="+mn-cs"/>
              </a:defRPr>
            </a:lvl2pPr>
            <a:lvl3pPr>
              <a:defRPr lang="de-DE" b="1" kern="1200" smtClean="0">
                <a:ea typeface="+mn-ea"/>
                <a:cs typeface="+mn-cs"/>
              </a:defRPr>
            </a:lvl3pPr>
            <a:lvl4pPr>
              <a:defRPr lang="de-DE" b="1" kern="1200" smtClean="0">
                <a:ea typeface="+mn-ea"/>
                <a:cs typeface="+mn-cs"/>
              </a:defRPr>
            </a:lvl4pPr>
            <a:lvl5pPr>
              <a:defRPr lang="de-DE" b="1" kern="1200">
                <a:ea typeface="+mn-ea"/>
                <a:cs typeface="+mn-cs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6AF92F6-8F78-45FE-898F-596C696A8ED5}" type="slidenum">
              <a:rPr lang="de-DE" altLang="de-DE"/>
              <a:pPr>
                <a:defRPr/>
              </a:pPr>
              <a:t>‹Nr.›</a:t>
            </a:fld>
            <a:r>
              <a:rPr lang="de-DE" alt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17174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1000" y="1447800"/>
            <a:ext cx="41148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1148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840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46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323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94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313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2946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1905000" y="2590800"/>
            <a:ext cx="64008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Times" pitchFamily="80" charset="0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73100" indent="-482600">
              <a:spcBef>
                <a:spcPct val="20000"/>
              </a:spcBef>
              <a:buClr>
                <a:schemeClr val="accent1"/>
              </a:buClr>
              <a:buSzPct val="85000"/>
              <a:buFont typeface="Wingdings" pitchFamily="2" charset="2"/>
              <a:buChar char="n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476250">
              <a:spcBef>
                <a:spcPct val="20000"/>
              </a:spcBef>
              <a:buClr>
                <a:schemeClr val="accent2"/>
              </a:buClr>
              <a:buSzPct val="75000"/>
              <a:buFont typeface="Wingdings" pitchFamily="2" charset="2"/>
              <a:buChar char="l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085850">
              <a:spcBef>
                <a:spcPct val="20000"/>
              </a:spcBef>
              <a:buFont typeface="Times" pitchFamily="80" charset="0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16100" indent="44450" algn="ctr">
              <a:spcBef>
                <a:spcPct val="20000"/>
              </a:spcBef>
              <a:buFont typeface="Times" pitchFamily="80" charset="0"/>
              <a:buChar char="•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273300" indent="44450" algn="ctr" fontAlgn="base">
              <a:spcBef>
                <a:spcPct val="20000"/>
              </a:spcBef>
              <a:spcAft>
                <a:spcPct val="0"/>
              </a:spcAft>
              <a:buFont typeface="Times" pitchFamily="80" charset="0"/>
              <a:buChar char="•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30500" indent="44450" algn="ctr" fontAlgn="base">
              <a:spcBef>
                <a:spcPct val="20000"/>
              </a:spcBef>
              <a:spcAft>
                <a:spcPct val="0"/>
              </a:spcAft>
              <a:buFont typeface="Times" pitchFamily="80" charset="0"/>
              <a:buChar char="•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87700" indent="44450" algn="ctr" fontAlgn="base">
              <a:spcBef>
                <a:spcPct val="20000"/>
              </a:spcBef>
              <a:spcAft>
                <a:spcPct val="0"/>
              </a:spcAft>
              <a:buFont typeface="Times" pitchFamily="80" charset="0"/>
              <a:buChar char="•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644900" indent="44450" algn="ctr" fontAlgn="base">
              <a:spcBef>
                <a:spcPct val="20000"/>
              </a:spcBef>
              <a:spcAft>
                <a:spcPct val="0"/>
              </a:spcAft>
              <a:buFont typeface="Times" pitchFamily="80" charset="0"/>
              <a:buChar char="•"/>
              <a:tabLst>
                <a:tab pos="762000" algn="l"/>
              </a:tabLs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1027" name="Rectangle 21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457200"/>
            <a:ext cx="838200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8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447800"/>
            <a:ext cx="8382000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pic>
        <p:nvPicPr>
          <p:cNvPr id="1029" name="Picture 28" descr="Kopf"/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538" y="6143625"/>
            <a:ext cx="17018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9" descr="Kopf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9413" y="6102350"/>
            <a:ext cx="2035175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34"/>
          <p:cNvSpPr txBox="1">
            <a:spLocks noChangeArrowheads="1"/>
          </p:cNvSpPr>
          <p:nvPr userDrawn="1"/>
        </p:nvSpPr>
        <p:spPr bwMode="auto">
          <a:xfrm>
            <a:off x="6804025" y="163513"/>
            <a:ext cx="399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fld id="{0C113FA0-E217-4B30-91D5-7E045FE89AF4}" type="slidenum">
              <a:rPr lang="de-DE" altLang="de-DE" sz="1000" smtClean="0">
                <a:solidFill>
                  <a:schemeClr val="accent1"/>
                </a:solidFill>
              </a:rPr>
              <a:pPr algn="ctr">
                <a:defRPr/>
              </a:pPr>
              <a:t>‹Nr.›</a:t>
            </a:fld>
            <a:endParaRPr lang="de-DE" altLang="de-DE" sz="1000" dirty="0" smtClean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4762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</a:defRPr>
      </a:lvl2pPr>
      <a:lvl3pPr marL="89535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l"/>
        <a:defRPr sz="2000">
          <a:solidFill>
            <a:schemeClr val="tx1"/>
          </a:solidFill>
          <a:latin typeface="+mn-lt"/>
          <a:ea typeface="+mn-ea"/>
        </a:defRPr>
      </a:lvl3pPr>
      <a:lvl4pPr marL="1314450" indent="-228600" algn="l" rtl="0" eaLnBrk="0" fontAlgn="base" hangingPunct="0">
        <a:spcBef>
          <a:spcPct val="20000"/>
        </a:spcBef>
        <a:spcAft>
          <a:spcPct val="0"/>
        </a:spcAft>
        <a:buFont typeface="Times" pitchFamily="18" charset="0"/>
        <a:defRPr sz="2000">
          <a:solidFill>
            <a:schemeClr val="tx1"/>
          </a:solidFill>
          <a:latin typeface="+mn-lt"/>
          <a:ea typeface="+mn-ea"/>
        </a:defRPr>
      </a:lvl4pPr>
      <a:lvl5pPr marL="1733550" indent="-228600" algn="l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defRPr sz="2000">
          <a:solidFill>
            <a:schemeClr val="tx1"/>
          </a:solidFill>
          <a:latin typeface="+mn-lt"/>
          <a:ea typeface="+mn-ea"/>
        </a:defRPr>
      </a:lvl5pPr>
      <a:lvl6pPr marL="2190750" indent="-228600" algn="l" rtl="0" fontAlgn="base">
        <a:spcBef>
          <a:spcPct val="20000"/>
        </a:spcBef>
        <a:spcAft>
          <a:spcPct val="0"/>
        </a:spcAft>
        <a:buFont typeface="Times" pitchFamily="80" charset="0"/>
        <a:buChar char="•"/>
        <a:defRPr sz="2000">
          <a:solidFill>
            <a:schemeClr val="tx1"/>
          </a:solidFill>
          <a:latin typeface="+mn-lt"/>
          <a:ea typeface="+mn-ea"/>
        </a:defRPr>
      </a:lvl6pPr>
      <a:lvl7pPr marL="2647950" indent="-228600" algn="l" rtl="0" fontAlgn="base">
        <a:spcBef>
          <a:spcPct val="20000"/>
        </a:spcBef>
        <a:spcAft>
          <a:spcPct val="0"/>
        </a:spcAft>
        <a:buFont typeface="Times" pitchFamily="80" charset="0"/>
        <a:buChar char="•"/>
        <a:defRPr sz="2000">
          <a:solidFill>
            <a:schemeClr val="tx1"/>
          </a:solidFill>
          <a:latin typeface="+mn-lt"/>
          <a:ea typeface="+mn-ea"/>
        </a:defRPr>
      </a:lvl7pPr>
      <a:lvl8pPr marL="3105150" indent="-228600" algn="l" rtl="0" fontAlgn="base">
        <a:spcBef>
          <a:spcPct val="20000"/>
        </a:spcBef>
        <a:spcAft>
          <a:spcPct val="0"/>
        </a:spcAft>
        <a:buFont typeface="Times" pitchFamily="80" charset="0"/>
        <a:buChar char="•"/>
        <a:defRPr sz="2000">
          <a:solidFill>
            <a:schemeClr val="tx1"/>
          </a:solidFill>
          <a:latin typeface="+mn-lt"/>
          <a:ea typeface="+mn-ea"/>
        </a:defRPr>
      </a:lvl8pPr>
      <a:lvl9pPr marL="3562350" indent="-228600" algn="l" rtl="0" fontAlgn="base">
        <a:spcBef>
          <a:spcPct val="20000"/>
        </a:spcBef>
        <a:spcAft>
          <a:spcPct val="0"/>
        </a:spcAft>
        <a:buFont typeface="Times" pitchFamily="80" charset="0"/>
        <a:buChar char="•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2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1626906"/>
              </p:ext>
            </p:extLst>
          </p:nvPr>
        </p:nvGraphicFramePr>
        <p:xfrm>
          <a:off x="1659" y="166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9" y="166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9587" y="234890"/>
            <a:ext cx="771401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de-DE" sz="1400" dirty="0" smtClean="0">
                <a:solidFill>
                  <a:srgbClr val="808080"/>
                </a:solidFill>
                <a:ea typeface="+mn-ea"/>
              </a:rPr>
              <a:t>TRACKER</a:t>
            </a:r>
            <a:endParaRPr lang="de-DE" sz="1400" dirty="0">
              <a:solidFill>
                <a:srgbClr val="808080"/>
              </a:solidFill>
              <a:ea typeface="+mn-ea"/>
            </a:endParaRP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400" dirty="0" smtClean="0">
                <a:solidFill>
                  <a:srgbClr val="808080"/>
                </a:solidFill>
                <a:ea typeface="+mn-ea"/>
              </a:rPr>
              <a:t>Unit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of</a:t>
            </a:r>
            <a:r>
              <a:rPr lang="de-DE" sz="1400" dirty="0" smtClean="0">
                <a:solidFill>
                  <a:srgbClr val="808080"/>
                </a:solidFill>
                <a:ea typeface="+mn-ea"/>
              </a:rPr>
              <a:t> </a:t>
            </a:r>
            <a:r>
              <a:rPr lang="de-DE" sz="1400" dirty="0" err="1" smtClean="0">
                <a:solidFill>
                  <a:srgbClr val="808080"/>
                </a:solidFill>
                <a:ea typeface="+mn-ea"/>
              </a:rPr>
              <a:t>measure</a:t>
            </a:r>
            <a:endParaRPr lang="de-DE" sz="1400" dirty="0" smtClean="0">
              <a:solidFill>
                <a:srgbClr val="808080"/>
              </a:solidFill>
              <a:ea typeface="+mn-ea"/>
            </a:endParaRPr>
          </a:p>
        </p:txBody>
      </p: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6" y="1146782"/>
            <a:ext cx="4350892" cy="521559"/>
            <a:chOff x="915" y="708"/>
            <a:chExt cx="2686" cy="322"/>
          </a:xfrm>
        </p:grpSpPr>
        <p:cxnSp>
          <p:nvCxnSpPr>
            <p:cNvPr id="1039" name="AutoShape 249" hidden="1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0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de-DE" sz="1600" b="1" dirty="0" smtClean="0">
                  <a:solidFill>
                    <a:srgbClr val="000000"/>
                  </a:solidFill>
                  <a:ea typeface="+mn-ea"/>
                </a:rPr>
                <a:t>Titel</a:t>
              </a:r>
            </a:p>
            <a:p>
              <a:pPr eaLnBrk="1" hangingPunct="1"/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Unit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of</a:t>
              </a:r>
              <a:r>
                <a:rPr lang="de-DE" sz="1600" dirty="0" smtClean="0">
                  <a:solidFill>
                    <a:srgbClr val="808080"/>
                  </a:solidFill>
                  <a:ea typeface="+mn-ea"/>
                </a:rPr>
                <a:t> </a:t>
              </a:r>
              <a:r>
                <a:rPr lang="de-DE" sz="1600" dirty="0" err="1" smtClean="0">
                  <a:solidFill>
                    <a:srgbClr val="808080"/>
                  </a:solidFill>
                  <a:ea typeface="+mn-ea"/>
                </a:rPr>
                <a:t>measure</a:t>
              </a:r>
              <a:endParaRPr lang="de-DE" sz="1600" dirty="0">
                <a:solidFill>
                  <a:srgbClr val="808080"/>
                </a:solidFill>
                <a:ea typeface="+mn-ea"/>
              </a:endParaRPr>
            </a:p>
          </p:txBody>
        </p:sp>
      </p:grpSp>
      <p:sp>
        <p:nvSpPr>
          <p:cNvPr id="2" name="Working Draft" hidden="1"/>
          <p:cNvSpPr txBox="1">
            <a:spLocks noChangeArrowheads="1"/>
          </p:cNvSpPr>
          <p:nvPr/>
        </p:nvSpPr>
        <p:spPr bwMode="auto">
          <a:xfrm rot="5400000">
            <a:off x="8054593" y="2762353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Last </a:t>
            </a: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Modifi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31.05.2013 08:38 W. Europe Standard Time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031" name="Printed" hidden="1"/>
          <p:cNvSpPr txBox="1">
            <a:spLocks noChangeArrowheads="1"/>
          </p:cNvSpPr>
          <p:nvPr/>
        </p:nvSpPr>
        <p:spPr bwMode="auto">
          <a:xfrm rot="5400000">
            <a:off x="8574729" y="4301131"/>
            <a:ext cx="996058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600" b="0" dirty="0" err="1" smtClean="0">
                <a:solidFill>
                  <a:srgbClr val="000000"/>
                </a:solidFill>
                <a:ea typeface="+mn-ea"/>
              </a:rPr>
              <a:t>Printed</a:t>
            </a:r>
            <a:r>
              <a:rPr lang="de-DE" sz="600" b="0" dirty="0" smtClean="0">
                <a:solidFill>
                  <a:srgbClr val="000000"/>
                </a:solidFill>
                <a:ea typeface="+mn-ea"/>
              </a:rPr>
              <a:t> 27.11.2012 16:43:07</a:t>
            </a:r>
            <a:endParaRPr lang="de-DE" b="0" dirty="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03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9587" y="1146779"/>
            <a:ext cx="2772442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1034" name="doc id"/>
          <p:cNvSpPr>
            <a:spLocks noChangeArrowheads="1"/>
          </p:cNvSpPr>
          <p:nvPr/>
        </p:nvSpPr>
        <p:spPr bwMode="auto">
          <a:xfrm>
            <a:off x="8246616" y="37257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eaLnBrk="1" hangingPunct="1"/>
            <a:endParaRPr lang="de-DE" sz="1600" b="1" dirty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722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981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9817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4280A"/>
          </a:solidFill>
          <a:latin typeface="Arial" charset="0"/>
        </a:defRPr>
      </a:lvl2pPr>
      <a:lvl3pPr algn="l" defTabSz="909817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4280A"/>
          </a:solidFill>
          <a:latin typeface="Arial" charset="0"/>
        </a:defRPr>
      </a:lvl3pPr>
      <a:lvl4pPr algn="l" defTabSz="909817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4280A"/>
          </a:solidFill>
          <a:latin typeface="Arial" charset="0"/>
        </a:defRPr>
      </a:lvl4pPr>
      <a:lvl5pPr algn="l" defTabSz="909817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4280A"/>
          </a:solidFill>
          <a:latin typeface="Arial" charset="0"/>
        </a:defRPr>
      </a:lvl5pPr>
      <a:lvl6pPr marL="464571" algn="l" defTabSz="90981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9176" algn="l" defTabSz="90981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3762" algn="l" defTabSz="90981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8346" algn="l" defTabSz="90981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8440" indent="-348440" algn="l" defTabSz="90981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rgbClr val="5E5E5E"/>
          </a:solidFill>
          <a:latin typeface="+mn-lt"/>
          <a:ea typeface="+mn-ea"/>
          <a:cs typeface="+mn-cs"/>
        </a:defRPr>
      </a:lvl1pPr>
      <a:lvl2pPr marL="196805" indent="-195193" algn="l" defTabSz="90981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rgbClr val="5E5E5E"/>
          </a:solidFill>
          <a:latin typeface="+mn-lt"/>
        </a:defRPr>
      </a:lvl2pPr>
      <a:lvl3pPr marL="464571" indent="-266172" algn="l" defTabSz="90981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rgbClr val="5E5E5E"/>
          </a:solidFill>
          <a:latin typeface="+mn-lt"/>
        </a:defRPr>
      </a:lvl3pPr>
      <a:lvl4pPr marL="624292" indent="-158092" algn="l" defTabSz="90981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rgbClr val="5E5E5E"/>
          </a:solidFill>
          <a:latin typeface="+mn-lt"/>
        </a:defRPr>
      </a:lvl4pPr>
      <a:lvl5pPr marL="758180" indent="-132278" algn="l" defTabSz="90981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rgbClr val="5E5E5E"/>
          </a:solidFill>
          <a:latin typeface="+mn-lt"/>
        </a:defRPr>
      </a:lvl5pPr>
      <a:lvl6pPr marL="1222770" indent="-132278" algn="l" defTabSz="90981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87355" indent="-132278" algn="l" defTabSz="90981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1946" indent="-132278" algn="l" defTabSz="90981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16531" indent="-132278" algn="l" defTabSz="90981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4571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9176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3762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8346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2936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7524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2111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6699" algn="l" defTabSz="929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</a:p>
        </p:txBody>
      </p:sp>
      <p:sp>
        <p:nvSpPr>
          <p:cNvPr id="205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defRPr>
            </a:lvl1pPr>
          </a:lstStyle>
          <a:p>
            <a:pPr>
              <a:defRPr/>
            </a:pPr>
            <a:fld id="{EF6EE94A-03CE-4D87-B69D-1DAE25C524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4430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hyperlink" Target="http://www.hygiene-mannheim.de/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0.jpeg"/><Relationship Id="rId7" Type="http://schemas.openxmlformats.org/officeDocument/2006/relationships/image" Target="../media/image43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jpe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gfg@umm.de" TargetMode="Externa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5" Type="http://schemas.openxmlformats.org/officeDocument/2006/relationships/image" Target="../media/image25.jpeg"/><Relationship Id="rId10" Type="http://schemas.openxmlformats.org/officeDocument/2006/relationships/image" Target="../media/image30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1"/>
          <p:cNvSpPr>
            <a:spLocks noChangeArrowheads="1"/>
          </p:cNvSpPr>
          <p:nvPr/>
        </p:nvSpPr>
        <p:spPr bwMode="auto">
          <a:xfrm>
            <a:off x="611188" y="5589588"/>
            <a:ext cx="797718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85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7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Times" pitchFamily="18" charset="0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</a:pPr>
            <a:r>
              <a:rPr lang="de-DE" altLang="de-DE" sz="2400" dirty="0" smtClean="0">
                <a:solidFill>
                  <a:schemeClr val="accent1"/>
                </a:solidFill>
              </a:rPr>
              <a:t>Der Hygiene-“Skandal“ 2014 und seine Folgen</a:t>
            </a:r>
            <a:endParaRPr lang="de-DE" altLang="de-DE" sz="2400" dirty="0">
              <a:solidFill>
                <a:schemeClr val="accent1"/>
              </a:solidFill>
            </a:endParaRPr>
          </a:p>
        </p:txBody>
      </p:sp>
      <p:pic>
        <p:nvPicPr>
          <p:cNvPr id="2050" name="Picture 2" descr="H:\Fotos\Fotosammlung\Fotoshooting Jahresbericht 2014\Steri\IMG_8646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05914" y="2812956"/>
            <a:ext cx="1958174" cy="187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H:\Fotos\Fotosammlung\Fotoshooting Jahresbericht 2014\Steri\IMG_8770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2720" y="2812957"/>
            <a:ext cx="2497843" cy="1878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:\Fotos\Fotosammlung\Fotoshooting Jahresbericht 2014\Steri\IMG_8849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6096" y="2812957"/>
            <a:ext cx="2818313" cy="187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wirkungen: </a:t>
            </a:r>
            <a:br>
              <a:rPr lang="de-DE" dirty="0" smtClean="0"/>
            </a:br>
            <a:r>
              <a:rPr lang="de-DE" dirty="0" smtClean="0"/>
              <a:t>Fallzahlen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4594619"/>
              </p:ext>
            </p:extLst>
          </p:nvPr>
        </p:nvGraphicFramePr>
        <p:xfrm>
          <a:off x="381000" y="1447800"/>
          <a:ext cx="83820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Gerade Verbindung mit Pfeil 5"/>
          <p:cNvCxnSpPr/>
          <p:nvPr/>
        </p:nvCxnSpPr>
        <p:spPr bwMode="auto">
          <a:xfrm>
            <a:off x="6372200" y="1340768"/>
            <a:ext cx="1800200" cy="1512168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extfeld 8"/>
          <p:cNvSpPr txBox="1"/>
          <p:nvPr/>
        </p:nvSpPr>
        <p:spPr>
          <a:xfrm rot="2352205">
            <a:off x="7030983" y="1693637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accent6"/>
                </a:solidFill>
              </a:rPr>
              <a:t>-10 %</a:t>
            </a:r>
            <a:endParaRPr lang="de-DE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48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wirkungen: </a:t>
            </a:r>
            <a:br>
              <a:rPr lang="de-DE" dirty="0" smtClean="0"/>
            </a:br>
            <a:r>
              <a:rPr lang="de-DE" dirty="0" smtClean="0"/>
              <a:t>EBITDA (in </a:t>
            </a:r>
            <a:r>
              <a:rPr lang="de-DE" dirty="0" err="1" smtClean="0"/>
              <a:t>Mio</a:t>
            </a:r>
            <a:r>
              <a:rPr lang="de-DE" dirty="0" smtClean="0"/>
              <a:t> Euro)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19535"/>
              </p:ext>
            </p:extLst>
          </p:nvPr>
        </p:nvGraphicFramePr>
        <p:xfrm>
          <a:off x="395536" y="1772816"/>
          <a:ext cx="8382000" cy="3277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170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Maßnahmen 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447800"/>
            <a:ext cx="8439472" cy="434340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de-DE" altLang="de-DE" sz="2200" b="1" dirty="0" smtClean="0"/>
              <a:t>1. ZSVA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Beauftragung eines zertifizierten Dienstleisters mit Sterilgutaufbereitung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Ausschließlich zentrale Aufbereitung, Schließung dezentraler Einheiten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Weiterbildung der Mitarbeiter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Bauliche Maßnahmen an der ZSVA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Komplette Neuorganisation der Abläufe in der ZSVA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Zertifizierung vorhandener Maschinen, Beschaffung neuer Geräte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Austausch von rund 80 Prozent des OP-Bestecks</a:t>
            </a:r>
          </a:p>
          <a:p>
            <a:pPr marL="342900" indent="-342900" eaLnBrk="1" hangingPunct="1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de-DE" altLang="de-DE" dirty="0" smtClean="0"/>
              <a:t>Zertifizierung </a:t>
            </a:r>
            <a:r>
              <a:rPr lang="de-DE" altLang="de-DE" dirty="0" smtClean="0"/>
              <a:t>nach DIN EN ISO 13485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altLang="de-DE" sz="1100" dirty="0" smtClean="0"/>
          </a:p>
          <a:p>
            <a:pPr>
              <a:spcBef>
                <a:spcPts val="0"/>
              </a:spcBef>
            </a:pPr>
            <a:r>
              <a:rPr lang="de-DE" altLang="de-DE" b="1" dirty="0" smtClean="0">
                <a:sym typeface="Wingdings"/>
              </a:rPr>
              <a:t> Über 15 Millionen Euro in ZSVA investiert</a:t>
            </a:r>
            <a:endParaRPr lang="de-DE" altLang="de-DE" b="1" dirty="0" smtClean="0"/>
          </a:p>
        </p:txBody>
      </p:sp>
      <p:pic>
        <p:nvPicPr>
          <p:cNvPr id="14338" name="Picture 2" descr="H:\Fotos\Fotosammlung\Jahresbericht\2014\Steri\IMG_8646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16216" y="4221088"/>
            <a:ext cx="2436422" cy="186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672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Maßnahmen 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447800"/>
            <a:ext cx="8439472" cy="434340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de-DE" altLang="de-DE" sz="2200" b="1" dirty="0" smtClean="0"/>
              <a:t>2. Organisation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/>
              <a:t>Etablierung zweiter Geschäftsführer (Ärztlicher Direktor)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Verstärkung </a:t>
            </a:r>
            <a:r>
              <a:rPr lang="de-DE" altLang="de-DE" dirty="0"/>
              <a:t>von </a:t>
            </a:r>
          </a:p>
          <a:p>
            <a:pPr marL="819150" lvl="1" indent="-342900" eaLnBrk="1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sz="1800" dirty="0"/>
              <a:t>Innenrevision (Compliance Management)</a:t>
            </a:r>
          </a:p>
          <a:p>
            <a:pPr marL="819150" lvl="1" indent="-3429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sz="1800" dirty="0"/>
              <a:t>Risiko-Management (klinisch u. betriebswirtschaftlich)</a:t>
            </a:r>
          </a:p>
          <a:p>
            <a:pPr marL="819150" lvl="1" indent="-3429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Krankenhaus-Hygiene als Stabsstelle</a:t>
            </a:r>
            <a:endParaRPr lang="de-DE" altLang="de-DE" sz="1800" dirty="0"/>
          </a:p>
          <a:p>
            <a:pPr marL="819150" lvl="1" indent="-3429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sz="1800" dirty="0"/>
              <a:t>Qualitätsmanagement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Relaunch des CIRS-Systems mit anonymer Rückfragemöglichkeit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Teilnahme IQM – Initiative Qualitätsmedizin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alt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4077072"/>
            <a:ext cx="1224136" cy="1249962"/>
          </a:xfrm>
          <a:prstGeom prst="rect">
            <a:avLst/>
          </a:prstGeom>
        </p:spPr>
      </p:pic>
      <p:pic>
        <p:nvPicPr>
          <p:cNvPr id="5" name="Picture 3" descr="H:\KommIntern\UMMsicht\1607 Juli_August 2016\bkms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57302" y="3717032"/>
            <a:ext cx="3251202" cy="2403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232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Maßnahmen 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447800"/>
            <a:ext cx="8439472" cy="434340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de-DE" altLang="de-DE" sz="2200" b="1" dirty="0"/>
              <a:t>3</a:t>
            </a:r>
            <a:r>
              <a:rPr lang="de-DE" altLang="de-DE" sz="2200" b="1" dirty="0" smtClean="0"/>
              <a:t>. Kommunikation</a:t>
            </a:r>
          </a:p>
          <a:p>
            <a:pPr eaLnBrk="1" hangingPunct="1">
              <a:spcBef>
                <a:spcPts val="0"/>
              </a:spcBef>
            </a:pPr>
            <a:endParaRPr lang="de-DE" altLang="de-DE" u="sng" dirty="0" smtClean="0"/>
          </a:p>
          <a:p>
            <a:pPr eaLnBrk="1" hangingPunct="1">
              <a:spcBef>
                <a:spcPts val="0"/>
              </a:spcBef>
            </a:pPr>
            <a:r>
              <a:rPr lang="de-DE" altLang="de-DE" u="sng" dirty="0" smtClean="0"/>
              <a:t>Hygiene</a:t>
            </a:r>
            <a:endParaRPr lang="de-DE" altLang="de-DE" u="sng" dirty="0" smtClean="0"/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Webseite </a:t>
            </a:r>
            <a:r>
              <a:rPr lang="de-DE" altLang="de-DE" dirty="0" smtClean="0">
                <a:hlinkClick r:id="rId2"/>
              </a:rPr>
              <a:t>www.hygiene-mannheim.de</a:t>
            </a:r>
            <a:r>
              <a:rPr lang="de-DE" altLang="de-DE" dirty="0" smtClean="0"/>
              <a:t> </a:t>
            </a:r>
          </a:p>
          <a:p>
            <a:pPr marL="819150" lvl="1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sz="1800" dirty="0" smtClean="0"/>
              <a:t>Schilder mit QR-Codes im ganzen Haus</a:t>
            </a:r>
            <a:endParaRPr lang="de-DE" altLang="de-DE" sz="1800" dirty="0"/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Flyer „Hygiene und Sicherheit“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Film über </a:t>
            </a:r>
            <a:r>
              <a:rPr lang="de-DE" altLang="de-DE" dirty="0" smtClean="0"/>
              <a:t>Sterilgutaufbereitung</a:t>
            </a:r>
            <a:br>
              <a:rPr lang="de-DE" altLang="de-DE" dirty="0" smtClean="0"/>
            </a:br>
            <a:r>
              <a:rPr lang="de-DE" altLang="de-DE" dirty="0" smtClean="0"/>
              <a:t>(20.000 Aufrufe bei </a:t>
            </a:r>
            <a:r>
              <a:rPr lang="de-DE" altLang="de-DE" dirty="0" err="1" smtClean="0"/>
              <a:t>Youtube</a:t>
            </a:r>
            <a:r>
              <a:rPr lang="de-DE" altLang="de-DE" dirty="0" smtClean="0"/>
              <a:t>)</a:t>
            </a:r>
            <a:endParaRPr lang="de-DE" altLang="de-DE" dirty="0" smtClean="0"/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Begehung ZSVA mit </a:t>
            </a:r>
            <a:r>
              <a:rPr lang="de-DE" altLang="de-DE" dirty="0" smtClean="0"/>
              <a:t>Journalisten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Nutzung spezieller Endoskope</a:t>
            </a:r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Zertifizierung der ZSVA</a:t>
            </a:r>
            <a:endParaRPr lang="de-DE" altLang="de-DE" dirty="0" smtClean="0"/>
          </a:p>
          <a:p>
            <a:pPr eaLnBrk="1" hangingPunct="1">
              <a:spcBef>
                <a:spcPts val="0"/>
              </a:spcBef>
            </a:pPr>
            <a:endParaRPr lang="de-DE" altLang="de-DE" dirty="0" smtClean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8224" y="1556792"/>
            <a:ext cx="2123118" cy="39021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731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H:\Logos\Fremde Logos\2013_selbsthilfefreundlich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4941168"/>
            <a:ext cx="2376264" cy="1186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Maßnahmen 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447800"/>
            <a:ext cx="8439472" cy="4343400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de-DE" altLang="de-DE" sz="2200" b="1" dirty="0"/>
              <a:t>3</a:t>
            </a:r>
            <a:r>
              <a:rPr lang="de-DE" altLang="de-DE" sz="2200" b="1" dirty="0" smtClean="0"/>
              <a:t>. Kommunikation</a:t>
            </a:r>
          </a:p>
          <a:p>
            <a:pPr eaLnBrk="1" hangingPunct="1">
              <a:spcBef>
                <a:spcPts val="0"/>
              </a:spcBef>
            </a:pPr>
            <a:endParaRPr lang="de-DE" altLang="de-DE" u="sng" dirty="0" smtClean="0"/>
          </a:p>
          <a:p>
            <a:pPr eaLnBrk="1" hangingPunct="1">
              <a:spcBef>
                <a:spcPts val="0"/>
              </a:spcBef>
            </a:pPr>
            <a:r>
              <a:rPr lang="de-DE" altLang="de-DE" u="sng" dirty="0" smtClean="0"/>
              <a:t>Qualitätsoffensive</a:t>
            </a:r>
            <a:endParaRPr lang="de-DE" altLang="de-DE" u="sng" dirty="0"/>
          </a:p>
          <a:p>
            <a:pPr marL="342900" indent="-342900" eaLnBrk="1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Auszeichnungen und Zertifikate </a:t>
            </a:r>
            <a:br>
              <a:rPr lang="de-DE" altLang="de-DE" dirty="0" smtClean="0"/>
            </a:br>
            <a:r>
              <a:rPr lang="de-DE" altLang="de-DE" dirty="0" smtClean="0"/>
              <a:t>(Focus Top Nationales Krankenhaus, </a:t>
            </a:r>
            <a:r>
              <a:rPr lang="de-DE" altLang="de-DE" dirty="0" smtClean="0"/>
              <a:t/>
            </a:r>
            <a:br>
              <a:rPr lang="de-DE" altLang="de-DE" dirty="0" smtClean="0"/>
            </a:br>
            <a:r>
              <a:rPr lang="de-DE" altLang="de-DE" dirty="0" smtClean="0"/>
              <a:t>DKG-Zertifizierung,</a:t>
            </a:r>
            <a:br>
              <a:rPr lang="de-DE" altLang="de-DE" dirty="0" smtClean="0"/>
            </a:br>
            <a:r>
              <a:rPr lang="de-DE" altLang="de-DE" dirty="0" smtClean="0"/>
              <a:t>Selbsthilfefreundliches </a:t>
            </a:r>
            <a:r>
              <a:rPr lang="de-DE" altLang="de-DE" dirty="0" smtClean="0"/>
              <a:t>Krankenhaus, </a:t>
            </a:r>
            <a:r>
              <a:rPr lang="de-DE" altLang="de-DE" dirty="0" smtClean="0"/>
              <a:t/>
            </a:r>
            <a:br>
              <a:rPr lang="de-DE" altLang="de-DE" dirty="0" smtClean="0"/>
            </a:br>
            <a:r>
              <a:rPr lang="de-DE" altLang="de-DE" dirty="0" smtClean="0"/>
              <a:t>Ausgezeichnet </a:t>
            </a:r>
            <a:r>
              <a:rPr lang="de-DE" altLang="de-DE" dirty="0" smtClean="0"/>
              <a:t>für Kinder, etc.)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IQM-Teilnahme</a:t>
            </a:r>
            <a:endParaRPr lang="de-DE" altLang="de-DE" dirty="0"/>
          </a:p>
          <a:p>
            <a:pPr marL="342900" indent="-3429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Jahresbericht mit „Schlaglichtern“ auf besondere Leistungen</a:t>
            </a:r>
            <a:endParaRPr lang="de-DE" altLang="de-DE" dirty="0"/>
          </a:p>
          <a:p>
            <a:pPr marL="342900" indent="-3429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altLang="de-DE" dirty="0" smtClean="0"/>
              <a:t>Investitionsprojekte (Stammzell-Transplantation, </a:t>
            </a:r>
            <a:br>
              <a:rPr lang="de-DE" altLang="de-DE" dirty="0" smtClean="0"/>
            </a:br>
            <a:r>
              <a:rPr lang="de-DE" altLang="de-DE" dirty="0" smtClean="0"/>
              <a:t>Liquid </a:t>
            </a:r>
            <a:r>
              <a:rPr lang="de-DE" altLang="de-DE" dirty="0" err="1" smtClean="0"/>
              <a:t>Biopsy</a:t>
            </a:r>
            <a:r>
              <a:rPr lang="de-DE" altLang="de-DE" dirty="0" smtClean="0"/>
              <a:t>, </a:t>
            </a:r>
            <a:r>
              <a:rPr lang="de-DE" altLang="de-DE" dirty="0" smtClean="0"/>
              <a:t>Weltneuheit MRT, </a:t>
            </a:r>
            <a:r>
              <a:rPr lang="de-DE" altLang="de-DE" dirty="0" smtClean="0"/>
              <a:t>etc</a:t>
            </a:r>
            <a:r>
              <a:rPr lang="de-DE" altLang="de-DE" dirty="0" smtClean="0"/>
              <a:t>.)</a:t>
            </a:r>
            <a:endParaRPr lang="de-DE" altLang="de-DE" dirty="0"/>
          </a:p>
          <a:p>
            <a:pPr marL="342900" indent="-342900" eaLnBrk="1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altLang="de-DE" dirty="0" smtClean="0"/>
          </a:p>
        </p:txBody>
      </p:sp>
      <p:pic>
        <p:nvPicPr>
          <p:cNvPr id="3" name="Picture 2" descr="H:\Drucksachen-Anzeigen-Broschüren\Sonstiges\Focus\Focus Drucksachen\Aufkleber\170918Focus_3er_Aufkleb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62237"/>
            <a:ext cx="2880320" cy="1814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9717" y="4149080"/>
            <a:ext cx="1224136" cy="1249962"/>
          </a:xfrm>
          <a:prstGeom prst="rect">
            <a:avLst/>
          </a:prstGeom>
        </p:spPr>
      </p:pic>
      <p:pic>
        <p:nvPicPr>
          <p:cNvPr id="7" name="Picture 2" descr="H:\Logos\Fremde Logos\Krebszentren\170927Krebsgesellschaft_Logos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73" t="5320" r="14172" b="5151"/>
          <a:stretch/>
        </p:blipFill>
        <p:spPr bwMode="auto">
          <a:xfrm>
            <a:off x="5652120" y="980728"/>
            <a:ext cx="3302571" cy="2949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w2.umm.de/index.php?eID=tx_nawsecuredl&amp;u=0&amp;g=0&amp;t=1463765070&amp;hash=4fc179ab8ce331485c75af29c17eb1d73d12cf96&amp;file=fileadmin/sdl/mantelseiten/_processed_/csm_CPU_Logo_683bb7d324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4" y="4904118"/>
            <a:ext cx="1255396" cy="1255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:\Logos\Fremde Logos\Stroke Uni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5017258"/>
            <a:ext cx="1680156" cy="102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Imag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4888594"/>
            <a:ext cx="1606939" cy="1060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02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UMM_KeyVisual_PPT"/>
          <p:cNvPicPr>
            <a:picLocks noChangeAspect="1" noChangeArrowheads="1"/>
          </p:cNvPicPr>
          <p:nvPr/>
        </p:nvPicPr>
        <p:blipFill>
          <a:blip r:embed="rId2" cstate="screen">
            <a:lum bright="48000" contrast="-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336" y="260350"/>
            <a:ext cx="8065144" cy="633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title"/>
          </p:nvPr>
        </p:nvSpPr>
        <p:spPr>
          <a:xfrm>
            <a:off x="1835175" y="2060501"/>
            <a:ext cx="5976937" cy="2160587"/>
          </a:xfrm>
        </p:spPr>
        <p:txBody>
          <a:bodyPr/>
          <a:lstStyle/>
          <a:p>
            <a:pPr algn="r"/>
            <a:r>
              <a:rPr lang="de-DE" altLang="de-DE" sz="4400" b="1" dirty="0" smtClean="0"/>
              <a:t>  </a:t>
            </a:r>
            <a:r>
              <a:rPr lang="de-DE" altLang="de-DE" sz="4400" b="1" dirty="0" err="1" smtClean="0">
                <a:solidFill>
                  <a:schemeClr val="tx2"/>
                </a:solidFill>
              </a:rPr>
              <a:t>It</a:t>
            </a:r>
            <a:r>
              <a:rPr lang="de-DE" altLang="de-DE" sz="4400" b="1" dirty="0" smtClean="0">
                <a:solidFill>
                  <a:schemeClr val="tx2"/>
                </a:solidFill>
              </a:rPr>
              <a:t> </a:t>
            </a:r>
            <a:r>
              <a:rPr lang="de-DE" altLang="de-DE" sz="4400" b="1" dirty="0" err="1" smtClean="0">
                <a:solidFill>
                  <a:schemeClr val="tx2"/>
                </a:solidFill>
              </a:rPr>
              <a:t>takes</a:t>
            </a:r>
            <a:r>
              <a:rPr lang="de-DE" altLang="de-DE" sz="4400" b="1" dirty="0" smtClean="0">
                <a:solidFill>
                  <a:schemeClr val="tx2"/>
                </a:solidFill>
              </a:rPr>
              <a:t> 20 </a:t>
            </a:r>
            <a:r>
              <a:rPr lang="de-DE" altLang="de-DE" sz="4400" b="1" dirty="0" err="1" smtClean="0">
                <a:solidFill>
                  <a:schemeClr val="tx2"/>
                </a:solidFill>
              </a:rPr>
              <a:t>years</a:t>
            </a:r>
            <a:r>
              <a:rPr lang="de-DE" altLang="de-DE" sz="4400" b="1" dirty="0" smtClean="0">
                <a:solidFill>
                  <a:schemeClr val="tx2"/>
                </a:solidFill>
              </a:rPr>
              <a:t> </a:t>
            </a:r>
            <a:r>
              <a:rPr lang="de-DE" altLang="de-DE" b="1" dirty="0">
                <a:solidFill>
                  <a:schemeClr val="tx2"/>
                </a:solidFill>
              </a:rPr>
              <a:t/>
            </a:r>
            <a:br>
              <a:rPr lang="de-DE" altLang="de-DE" b="1" dirty="0">
                <a:solidFill>
                  <a:schemeClr val="tx2"/>
                </a:solidFill>
              </a:rPr>
            </a:br>
            <a:r>
              <a:rPr lang="de-DE" altLang="de-DE" b="1" dirty="0" err="1" smtClean="0">
                <a:solidFill>
                  <a:schemeClr val="tx2"/>
                </a:solidFill>
              </a:rPr>
              <a:t>to</a:t>
            </a:r>
            <a:r>
              <a:rPr lang="de-DE" altLang="de-DE" b="1" dirty="0" smtClean="0">
                <a:solidFill>
                  <a:schemeClr val="tx2"/>
                </a:solidFill>
              </a:rPr>
              <a:t> </a:t>
            </a:r>
            <a:r>
              <a:rPr lang="de-DE" altLang="de-DE" b="1" dirty="0" err="1" smtClean="0">
                <a:solidFill>
                  <a:schemeClr val="tx2"/>
                </a:solidFill>
              </a:rPr>
              <a:t>build</a:t>
            </a:r>
            <a:r>
              <a:rPr lang="de-DE" altLang="de-DE" b="1" dirty="0" smtClean="0">
                <a:solidFill>
                  <a:schemeClr val="tx2"/>
                </a:solidFill>
              </a:rPr>
              <a:t> a </a:t>
            </a:r>
            <a:r>
              <a:rPr lang="de-DE" altLang="de-DE" b="1" dirty="0" err="1" smtClean="0">
                <a:solidFill>
                  <a:schemeClr val="tx2"/>
                </a:solidFill>
              </a:rPr>
              <a:t>reputation</a:t>
            </a:r>
            <a:r>
              <a:rPr lang="de-DE" altLang="de-DE" b="1" dirty="0" smtClean="0">
                <a:solidFill>
                  <a:schemeClr val="tx2"/>
                </a:solidFill>
              </a:rPr>
              <a:t/>
            </a:r>
            <a:br>
              <a:rPr lang="de-DE" altLang="de-DE" b="1" dirty="0" smtClean="0">
                <a:solidFill>
                  <a:schemeClr val="tx2"/>
                </a:solidFill>
              </a:rPr>
            </a:br>
            <a:r>
              <a:rPr lang="de-DE" altLang="de-DE" b="1" dirty="0" err="1" smtClean="0">
                <a:solidFill>
                  <a:schemeClr val="tx2"/>
                </a:solidFill>
              </a:rPr>
              <a:t>and</a:t>
            </a:r>
            <a:r>
              <a:rPr lang="de-DE" altLang="de-DE" b="1" dirty="0" smtClean="0">
                <a:solidFill>
                  <a:schemeClr val="tx2"/>
                </a:solidFill>
              </a:rPr>
              <a:t> 5 </a:t>
            </a:r>
            <a:r>
              <a:rPr lang="de-DE" altLang="de-DE" b="1" dirty="0" err="1" smtClean="0">
                <a:solidFill>
                  <a:schemeClr val="tx2"/>
                </a:solidFill>
              </a:rPr>
              <a:t>minutes</a:t>
            </a:r>
            <a:r>
              <a:rPr lang="de-DE" altLang="de-DE" b="1" dirty="0" smtClean="0">
                <a:solidFill>
                  <a:schemeClr val="tx2"/>
                </a:solidFill>
              </a:rPr>
              <a:t> </a:t>
            </a:r>
            <a:r>
              <a:rPr lang="de-DE" altLang="de-DE" b="1" dirty="0" err="1" smtClean="0">
                <a:solidFill>
                  <a:schemeClr val="tx2"/>
                </a:solidFill>
              </a:rPr>
              <a:t>to</a:t>
            </a:r>
            <a:r>
              <a:rPr lang="de-DE" altLang="de-DE" b="1" dirty="0" smtClean="0">
                <a:solidFill>
                  <a:schemeClr val="tx2"/>
                </a:solidFill>
              </a:rPr>
              <a:t> lose it.</a:t>
            </a:r>
            <a:br>
              <a:rPr lang="de-DE" altLang="de-DE" b="1" dirty="0" smtClean="0">
                <a:solidFill>
                  <a:schemeClr val="tx2"/>
                </a:solidFill>
              </a:rPr>
            </a:br>
            <a:r>
              <a:rPr lang="de-DE" altLang="de-DE" sz="2000" dirty="0" smtClean="0">
                <a:solidFill>
                  <a:schemeClr val="tx2"/>
                </a:solidFill>
              </a:rPr>
              <a:t>Warren Buffet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79512" y="4781470"/>
            <a:ext cx="26642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rgbClr val="1F497D"/>
                </a:solidFill>
              </a:rPr>
              <a:t>Dirk Schuhmann</a:t>
            </a:r>
            <a:endParaRPr lang="de-DE" sz="1400" dirty="0" smtClean="0">
              <a:solidFill>
                <a:srgbClr val="1F497D"/>
              </a:solidFill>
            </a:endParaRPr>
          </a:p>
          <a:p>
            <a:r>
              <a:rPr lang="de-DE" sz="1400" dirty="0" smtClean="0">
                <a:solidFill>
                  <a:srgbClr val="1F497D"/>
                </a:solidFill>
              </a:rPr>
              <a:t>Leiter Presse- und Öffentlichkeitsarbeit</a:t>
            </a:r>
            <a:endParaRPr lang="de-DE" sz="1400" dirty="0" smtClean="0">
              <a:solidFill>
                <a:srgbClr val="1F497D"/>
              </a:solidFill>
            </a:endParaRPr>
          </a:p>
          <a:p>
            <a:r>
              <a:rPr lang="de-DE" sz="1400" dirty="0" smtClean="0">
                <a:solidFill>
                  <a:srgbClr val="1F497D"/>
                </a:solidFill>
              </a:rPr>
              <a:t>Universitätsmedizin Mannheim</a:t>
            </a:r>
          </a:p>
          <a:p>
            <a:r>
              <a:rPr lang="de-DE" sz="1400" dirty="0" smtClean="0">
                <a:solidFill>
                  <a:srgbClr val="1F497D"/>
                </a:solidFill>
              </a:rPr>
              <a:t>Theodor-Kutzer-Ufer 1-3</a:t>
            </a:r>
          </a:p>
          <a:p>
            <a:r>
              <a:rPr lang="de-DE" sz="1400" dirty="0" smtClean="0">
                <a:solidFill>
                  <a:srgbClr val="1F497D"/>
                </a:solidFill>
              </a:rPr>
              <a:t>68167 Mannheim</a:t>
            </a:r>
          </a:p>
          <a:p>
            <a:r>
              <a:rPr lang="de-DE" sz="1400" dirty="0" smtClean="0">
                <a:solidFill>
                  <a:srgbClr val="1F497D"/>
                </a:solidFill>
              </a:rPr>
              <a:t>Tel. 0621 383 </a:t>
            </a:r>
            <a:r>
              <a:rPr lang="de-DE" sz="1400" dirty="0" smtClean="0">
                <a:solidFill>
                  <a:srgbClr val="1F497D"/>
                </a:solidFill>
              </a:rPr>
              <a:t>3549</a:t>
            </a:r>
            <a:endParaRPr lang="de-DE" sz="1400" dirty="0" smtClean="0">
              <a:solidFill>
                <a:srgbClr val="1F497D"/>
              </a:solidFill>
            </a:endParaRPr>
          </a:p>
          <a:p>
            <a:r>
              <a:rPr lang="de-DE" sz="1400" dirty="0" smtClean="0">
                <a:solidFill>
                  <a:srgbClr val="1F497D"/>
                </a:solidFill>
                <a:hlinkClick r:id="rId3"/>
              </a:rPr>
              <a:t>dirk.schuhmann@umm.de</a:t>
            </a:r>
            <a:r>
              <a:rPr lang="de-DE" sz="1400" dirty="0" smtClean="0">
                <a:solidFill>
                  <a:srgbClr val="1F497D"/>
                </a:solidFill>
              </a:rPr>
              <a:t> </a:t>
            </a:r>
            <a:endParaRPr lang="de-DE" sz="1400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4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60648"/>
            <a:ext cx="8382000" cy="850900"/>
          </a:xfrm>
        </p:spPr>
        <p:txBody>
          <a:bodyPr/>
          <a:lstStyle/>
          <a:p>
            <a:pPr eaLnBrk="1" hangingPunct="1"/>
            <a:r>
              <a:rPr lang="de-DE" altLang="de-DE" sz="2400" dirty="0" smtClean="0"/>
              <a:t>Chronologie der </a:t>
            </a:r>
            <a:r>
              <a:rPr lang="de-DE" altLang="de-DE" sz="2400" dirty="0" err="1" smtClean="0"/>
              <a:t>Sterilgutkrise</a:t>
            </a:r>
            <a:r>
              <a:rPr lang="de-DE" altLang="de-DE" sz="2400" dirty="0" smtClean="0"/>
              <a:t> an der UMM</a:t>
            </a:r>
            <a:br>
              <a:rPr lang="de-DE" altLang="de-DE" sz="2400" dirty="0" smtClean="0"/>
            </a:br>
            <a:endParaRPr lang="de-DE" altLang="de-DE" sz="2400" dirty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268760"/>
            <a:ext cx="8295456" cy="4343400"/>
          </a:xfrm>
        </p:spPr>
        <p:txBody>
          <a:bodyPr/>
          <a:lstStyle/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Oktober 2014:</a:t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kern="1200" dirty="0">
                <a:solidFill>
                  <a:srgbClr val="5E5E5E"/>
                </a:solidFill>
                <a:latin typeface="Arial" charset="0"/>
              </a:rPr>
              <a:t>Ortsbegehung Regierungspräsidium nach anonymem Hinweis</a:t>
            </a:r>
            <a:br>
              <a:rPr lang="de-DE" altLang="de-DE" sz="1600" kern="1200" dirty="0">
                <a:solidFill>
                  <a:srgbClr val="5E5E5E"/>
                </a:solidFill>
                <a:latin typeface="Arial" charset="0"/>
              </a:rPr>
            </a:br>
            <a:r>
              <a:rPr lang="de-DE" altLang="de-DE" sz="1600" kern="1200" dirty="0">
                <a:solidFill>
                  <a:srgbClr val="5E5E5E"/>
                </a:solidFill>
                <a:latin typeface="Arial" charset="0"/>
              </a:rPr>
              <a:t>Staatsanwaltschaft und Polizei beschlagnahmen Akten und Siebe</a:t>
            </a:r>
            <a:br>
              <a:rPr lang="de-DE" altLang="de-DE" sz="1600" kern="1200" dirty="0">
                <a:solidFill>
                  <a:srgbClr val="5E5E5E"/>
                </a:solidFill>
                <a:latin typeface="Arial" charset="0"/>
              </a:rPr>
            </a:br>
            <a:r>
              <a:rPr lang="de-DE" altLang="de-DE" sz="1600" b="1" i="1" dirty="0">
                <a:solidFill>
                  <a:srgbClr val="0F3286"/>
                </a:solidFill>
                <a:latin typeface="Arial"/>
                <a:sym typeface="Wingdings"/>
              </a:rPr>
              <a:t></a:t>
            </a: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 OP-Kapazitäten auf Notfälle reduziert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November 2014:</a:t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 smtClean="0"/>
              <a:t>Rücktritt Geschäftsführer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Dezember 2014:</a:t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 smtClean="0"/>
              <a:t>Neue Geschäftsführung vorgestellt („Doppelspitze“)</a:t>
            </a:r>
            <a:br>
              <a:rPr lang="de-DE" altLang="de-DE" sz="1600" dirty="0" smtClean="0"/>
            </a:br>
            <a:r>
              <a:rPr lang="de-DE" altLang="de-DE" sz="1600" dirty="0" smtClean="0"/>
              <a:t>Expertenkommission nimmt Arbeit auf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April 2015:</a:t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 smtClean="0"/>
              <a:t>Expertenkommission legt Bericht vor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Juli 2015: </a:t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 smtClean="0"/>
              <a:t>Neustrukturierung zentrale Sterilgutversorgung abgeschlossen</a:t>
            </a:r>
            <a:br>
              <a:rPr lang="de-DE" altLang="de-DE" sz="1600" dirty="0" smtClean="0"/>
            </a:br>
            <a:r>
              <a:rPr lang="de-DE" altLang="de-DE" sz="1600" dirty="0" smtClean="0"/>
              <a:t>Redundanz-Einheit bis Sommer 2016 neu </a:t>
            </a:r>
            <a:r>
              <a:rPr lang="de-DE" altLang="de-DE" sz="1600" dirty="0" smtClean="0"/>
              <a:t>eingerichtet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 smtClean="0">
                <a:solidFill>
                  <a:srgbClr val="0F3286"/>
                </a:solidFill>
                <a:latin typeface="Arial"/>
              </a:rPr>
              <a:t>Dezember 2016:</a:t>
            </a:r>
            <a:br>
              <a:rPr lang="de-DE" altLang="de-DE" sz="1600" b="1" i="1" dirty="0" smtClean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/>
              <a:t>Sterilgutversorgung nach DIN EN </a:t>
            </a:r>
            <a:r>
              <a:rPr lang="de-DE" altLang="de-DE" sz="1600" dirty="0" smtClean="0"/>
              <a:t>ISO 13485 </a:t>
            </a:r>
            <a:r>
              <a:rPr lang="de-DE" altLang="de-DE" sz="1600" dirty="0"/>
              <a:t>zertifiziert</a:t>
            </a:r>
          </a:p>
          <a:p>
            <a:pPr eaLnBrk="1" hangingPunct="1"/>
            <a:r>
              <a:rPr lang="de-DE" altLang="de-DE" sz="1600" dirty="0"/>
              <a:t/>
            </a:r>
            <a:br>
              <a:rPr lang="de-DE" altLang="de-DE" sz="1600" dirty="0"/>
            </a:br>
            <a:endParaRPr lang="de-DE" altLang="de-DE" sz="1600" dirty="0"/>
          </a:p>
        </p:txBody>
      </p:sp>
    </p:spTree>
    <p:extLst>
      <p:ext uri="{BB962C8B-B14F-4D97-AF65-F5344CB8AC3E}">
        <p14:creationId xmlns:p14="http://schemas.microsoft.com/office/powerpoint/2010/main" val="346522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60648"/>
            <a:ext cx="8382000" cy="850900"/>
          </a:xfrm>
        </p:spPr>
        <p:txBody>
          <a:bodyPr/>
          <a:lstStyle/>
          <a:p>
            <a:pPr eaLnBrk="1" hangingPunct="1"/>
            <a:r>
              <a:rPr lang="de-DE" altLang="de-DE" sz="2400" dirty="0" smtClean="0"/>
              <a:t>Chronologie der </a:t>
            </a:r>
            <a:r>
              <a:rPr lang="de-DE" altLang="de-DE" sz="2400" dirty="0" err="1" smtClean="0"/>
              <a:t>Sterilgutkrise</a:t>
            </a:r>
            <a:r>
              <a:rPr lang="de-DE" altLang="de-DE" sz="2400" dirty="0" smtClean="0"/>
              <a:t> an der UMM</a:t>
            </a:r>
            <a:br>
              <a:rPr lang="de-DE" altLang="de-DE" sz="2400" dirty="0" smtClean="0"/>
            </a:br>
            <a:endParaRPr lang="de-DE" altLang="de-DE" sz="2400" dirty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268760"/>
            <a:ext cx="8295456" cy="4343400"/>
          </a:xfrm>
        </p:spPr>
        <p:txBody>
          <a:bodyPr/>
          <a:lstStyle/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</a:rPr>
              <a:t>Dezember 2016:</a:t>
            </a:r>
            <a:br>
              <a:rPr lang="de-DE" altLang="de-DE" sz="1600" b="1" i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Arial"/>
              </a:rPr>
            </a:br>
            <a:r>
              <a:rPr lang="de-DE" altLang="de-DE" sz="1600" dirty="0">
                <a:solidFill>
                  <a:schemeClr val="bg1">
                    <a:lumMod val="50000"/>
                  </a:schemeClr>
                </a:solidFill>
              </a:rPr>
              <a:t>Sterilgutversorgung nach DIN EN </a:t>
            </a:r>
            <a:r>
              <a:rPr lang="de-DE" altLang="de-DE" sz="1600" dirty="0" smtClean="0">
                <a:solidFill>
                  <a:schemeClr val="bg1">
                    <a:lumMod val="50000"/>
                  </a:schemeClr>
                </a:solidFill>
              </a:rPr>
              <a:t>ISO 13485 </a:t>
            </a:r>
            <a:r>
              <a:rPr lang="de-DE" altLang="de-DE" sz="1600" dirty="0">
                <a:solidFill>
                  <a:schemeClr val="bg1">
                    <a:lumMod val="50000"/>
                  </a:schemeClr>
                </a:solidFill>
              </a:rPr>
              <a:t>zertifiziert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 smtClean="0">
                <a:solidFill>
                  <a:srgbClr val="0F3286"/>
                </a:solidFill>
                <a:latin typeface="Arial"/>
              </a:rPr>
              <a:t>Januar 2018: </a:t>
            </a: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/>
            </a:r>
            <a:br>
              <a:rPr lang="de-DE" altLang="de-DE" sz="1600" b="1" i="1" dirty="0">
                <a:solidFill>
                  <a:srgbClr val="0F3286"/>
                </a:solidFill>
                <a:latin typeface="Arial"/>
              </a:rPr>
            </a:br>
            <a:r>
              <a:rPr lang="de-DE" altLang="de-DE" sz="1600" dirty="0" smtClean="0"/>
              <a:t>Staatsanwaltschaft gibt Ermittlungsergebnisse gegen 6 ehemalige Mitarbeiter bekannt:</a:t>
            </a:r>
          </a:p>
          <a:p>
            <a:pPr marL="762000" lvl="1" eaLnBrk="1" hangingPunct="1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5 Verfahren eingestellt</a:t>
            </a:r>
          </a:p>
          <a:p>
            <a:pPr marL="762000" lvl="1" eaLnBrk="1" hangingPunct="1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Anklage wegen Verstoßes gegen das Medizinproduktegesetz </a:t>
            </a:r>
            <a:br>
              <a:rPr lang="de-DE" altLang="de-DE" sz="1600" dirty="0" smtClean="0"/>
            </a:br>
            <a:r>
              <a:rPr lang="de-DE" altLang="de-DE" sz="1600" dirty="0" smtClean="0"/>
              <a:t>gegen ehemaligen Geschäftsführer</a:t>
            </a:r>
            <a:endParaRPr lang="de-DE" altLang="de-DE" sz="1600" dirty="0"/>
          </a:p>
          <a:p>
            <a:pPr eaLnBrk="1" hangingPunct="1"/>
            <a:r>
              <a:rPr lang="de-DE" altLang="de-DE" sz="1600" dirty="0"/>
              <a:t/>
            </a:r>
            <a:br>
              <a:rPr lang="de-DE" altLang="de-DE" sz="1600" dirty="0"/>
            </a:br>
            <a:endParaRPr lang="de-DE" altLang="de-DE" sz="1600" dirty="0"/>
          </a:p>
        </p:txBody>
      </p:sp>
      <p:sp>
        <p:nvSpPr>
          <p:cNvPr id="5" name="Rectangle 112"/>
          <p:cNvSpPr/>
          <p:nvPr/>
        </p:nvSpPr>
        <p:spPr>
          <a:xfrm>
            <a:off x="179513" y="3429000"/>
            <a:ext cx="8784975" cy="915546"/>
          </a:xfrm>
          <a:prstGeom prst="rect">
            <a:avLst/>
          </a:prstGeom>
          <a:solidFill>
            <a:srgbClr val="0F3286">
              <a:alpha val="82000"/>
            </a:srgb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735" tIns="41866" rIns="83735" bIns="41866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800" b="1" kern="0" dirty="0">
                <a:solidFill>
                  <a:prstClr val="white"/>
                </a:solidFill>
                <a:latin typeface="Arial"/>
                <a:ea typeface="+mn-ea"/>
              </a:rPr>
              <a:t>Noch </a:t>
            </a:r>
            <a:r>
              <a:rPr lang="de-DE" sz="1800" b="1" kern="0" dirty="0" smtClean="0">
                <a:solidFill>
                  <a:prstClr val="white"/>
                </a:solidFill>
                <a:latin typeface="Arial"/>
                <a:ea typeface="+mn-ea"/>
              </a:rPr>
              <a:t>offen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800" b="1" kern="0" dirty="0" smtClean="0">
                <a:solidFill>
                  <a:prstClr val="white"/>
                </a:solidFill>
                <a:latin typeface="Arial"/>
                <a:ea typeface="+mn-ea"/>
              </a:rPr>
              <a:t>Verfahren gegen ehemaligen Geschäftsführer (Beginn nicht vor 2019)</a:t>
            </a:r>
            <a:endParaRPr lang="de-DE" sz="1800" b="1" kern="0" dirty="0" smtClean="0">
              <a:solidFill>
                <a:prstClr val="white"/>
              </a:solidFill>
              <a:latin typeface="Arial"/>
              <a:ea typeface="+mn-ea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1800" b="1" kern="0" dirty="0" smtClean="0">
                <a:solidFill>
                  <a:prstClr val="white"/>
                </a:solidFill>
                <a:latin typeface="Arial"/>
                <a:ea typeface="+mn-ea"/>
              </a:rPr>
              <a:t>Zivilrechtliche </a:t>
            </a:r>
            <a:r>
              <a:rPr lang="de-DE" sz="1800" b="1" kern="0" dirty="0">
                <a:solidFill>
                  <a:prstClr val="white"/>
                </a:solidFill>
                <a:latin typeface="Arial"/>
                <a:ea typeface="+mn-ea"/>
              </a:rPr>
              <a:t>Aufarbeitung (D&amp;O)</a:t>
            </a:r>
          </a:p>
        </p:txBody>
      </p:sp>
    </p:spTree>
    <p:extLst>
      <p:ext uri="{BB962C8B-B14F-4D97-AF65-F5344CB8AC3E}">
        <p14:creationId xmlns:p14="http://schemas.microsoft.com/office/powerpoint/2010/main" val="3411051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4373839"/>
            <a:ext cx="5328592" cy="1647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9992" y="3933056"/>
            <a:ext cx="4420583" cy="1489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Fakten zum ‚Hygiene-Skandal‘ an der UMM</a:t>
            </a:r>
            <a:br>
              <a:rPr lang="de-DE" altLang="de-DE" sz="2400" dirty="0" smtClean="0"/>
            </a:br>
            <a:endParaRPr lang="de-DE" altLang="de-DE" sz="2400" dirty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447800"/>
            <a:ext cx="8295456" cy="4343400"/>
          </a:xfrm>
        </p:spPr>
        <p:txBody>
          <a:bodyPr/>
          <a:lstStyle/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Ermittlungen der Staatsanwaltschaft </a:t>
            </a:r>
          </a:p>
          <a:p>
            <a:pPr marL="541338" lvl="1" indent="-185738" eaLnBrk="1" hangingPunct="1">
              <a:buFont typeface="Wingdings" panose="05000000000000000000" pitchFamily="2" charset="2"/>
              <a:buChar char="§"/>
            </a:pPr>
            <a:r>
              <a:rPr lang="de-DE" altLang="de-DE" sz="1600" kern="1200" dirty="0">
                <a:solidFill>
                  <a:srgbClr val="5E5E5E"/>
                </a:solidFill>
                <a:latin typeface="Arial" charset="0"/>
                <a:cs typeface="+mn-cs"/>
              </a:rPr>
              <a:t>gegen sechs Personen</a:t>
            </a:r>
          </a:p>
          <a:p>
            <a:pPr marL="541338" lvl="1" indent="-185738" eaLnBrk="1" hangingPunct="1">
              <a:buFont typeface="Wingdings" panose="05000000000000000000" pitchFamily="2" charset="2"/>
              <a:buChar char="§"/>
            </a:pPr>
            <a:r>
              <a:rPr lang="de-DE" altLang="de-DE" sz="1600" kern="1200" dirty="0">
                <a:solidFill>
                  <a:srgbClr val="5E5E5E"/>
                </a:solidFill>
                <a:latin typeface="Arial" charset="0"/>
                <a:cs typeface="+mn-cs"/>
              </a:rPr>
              <a:t>wegen möglichen Verstößen gegen Medizinproduktegesetz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Postoperative Wundinfektionen nicht erhöht</a:t>
            </a:r>
          </a:p>
          <a:p>
            <a:pPr marL="342900" indent="-342900" eaLnBrk="1" hangingPunct="1">
              <a:buFont typeface="Wingdings" panose="05000000000000000000" pitchFamily="2" charset="2"/>
              <a:buChar char="§"/>
            </a:pPr>
            <a:r>
              <a:rPr lang="de-DE" altLang="de-DE" sz="1600" b="1" i="1" dirty="0">
                <a:solidFill>
                  <a:srgbClr val="0F3286"/>
                </a:solidFill>
                <a:latin typeface="Arial"/>
              </a:rPr>
              <a:t>Haftpflichtrelevante Schadensfälle auf Niveau der Vorjahr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96273" y="1484784"/>
            <a:ext cx="2512231" cy="2281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5745" y="3127425"/>
            <a:ext cx="5118343" cy="10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05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60648"/>
            <a:ext cx="8382000" cy="850900"/>
          </a:xfrm>
        </p:spPr>
        <p:txBody>
          <a:bodyPr/>
          <a:lstStyle/>
          <a:p>
            <a:pPr eaLnBrk="1" hangingPunct="1"/>
            <a:r>
              <a:rPr lang="de-DE" altLang="de-DE" sz="2400" dirty="0" smtClean="0"/>
              <a:t>Die Vertrauenskrise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650" y="783271"/>
            <a:ext cx="4320798" cy="523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218" y="783271"/>
            <a:ext cx="3600400" cy="5231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087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b="1" dirty="0" smtClean="0"/>
              <a:t>Typischer</a:t>
            </a:r>
            <a:r>
              <a:rPr lang="de-DE" altLang="de-DE" sz="2400" dirty="0" smtClean="0"/>
              <a:t> kommunikativer Krisenverlauf</a:t>
            </a:r>
          </a:p>
        </p:txBody>
      </p:sp>
      <p:sp>
        <p:nvSpPr>
          <p:cNvPr id="14" name="Freihandform 13"/>
          <p:cNvSpPr/>
          <p:nvPr/>
        </p:nvSpPr>
        <p:spPr bwMode="auto">
          <a:xfrm>
            <a:off x="1031150" y="1452837"/>
            <a:ext cx="7429574" cy="3443556"/>
          </a:xfrm>
          <a:custGeom>
            <a:avLst/>
            <a:gdLst>
              <a:gd name="connsiteX0" fmla="*/ 0 w 8100509"/>
              <a:gd name="connsiteY0" fmla="*/ 3761230 h 4056332"/>
              <a:gd name="connsiteX1" fmla="*/ 2775473 w 8100509"/>
              <a:gd name="connsiteY1" fmla="*/ 3739714 h 4056332"/>
              <a:gd name="connsiteX2" fmla="*/ 4733365 w 8100509"/>
              <a:gd name="connsiteY2" fmla="*/ 523178 h 4056332"/>
              <a:gd name="connsiteX3" fmla="*/ 8100509 w 8100509"/>
              <a:gd name="connsiteY3" fmla="*/ 6811 h 4056332"/>
              <a:gd name="connsiteX4" fmla="*/ 8100509 w 8100509"/>
              <a:gd name="connsiteY4" fmla="*/ 6811 h 4056332"/>
              <a:gd name="connsiteX0" fmla="*/ 0 w 8186570"/>
              <a:gd name="connsiteY0" fmla="*/ 3922594 h 4141160"/>
              <a:gd name="connsiteX1" fmla="*/ 2861534 w 8186570"/>
              <a:gd name="connsiteY1" fmla="*/ 3739714 h 4141160"/>
              <a:gd name="connsiteX2" fmla="*/ 4819426 w 8186570"/>
              <a:gd name="connsiteY2" fmla="*/ 523178 h 4141160"/>
              <a:gd name="connsiteX3" fmla="*/ 8186570 w 8186570"/>
              <a:gd name="connsiteY3" fmla="*/ 6811 h 4141160"/>
              <a:gd name="connsiteX4" fmla="*/ 8186570 w 8186570"/>
              <a:gd name="connsiteY4" fmla="*/ 6811 h 4141160"/>
              <a:gd name="connsiteX0" fmla="*/ 0 w 8186570"/>
              <a:gd name="connsiteY0" fmla="*/ 3922594 h 4081704"/>
              <a:gd name="connsiteX1" fmla="*/ 2861534 w 8186570"/>
              <a:gd name="connsiteY1" fmla="*/ 3739714 h 4081704"/>
              <a:gd name="connsiteX2" fmla="*/ 4819426 w 8186570"/>
              <a:gd name="connsiteY2" fmla="*/ 523178 h 4081704"/>
              <a:gd name="connsiteX3" fmla="*/ 8186570 w 8186570"/>
              <a:gd name="connsiteY3" fmla="*/ 6811 h 4081704"/>
              <a:gd name="connsiteX4" fmla="*/ 8186570 w 8186570"/>
              <a:gd name="connsiteY4" fmla="*/ 6811 h 4081704"/>
              <a:gd name="connsiteX0" fmla="*/ 0 w 8520057"/>
              <a:gd name="connsiteY0" fmla="*/ 4019412 h 4135502"/>
              <a:gd name="connsiteX1" fmla="*/ 3195021 w 8520057"/>
              <a:gd name="connsiteY1" fmla="*/ 3739714 h 4135502"/>
              <a:gd name="connsiteX2" fmla="*/ 5152913 w 8520057"/>
              <a:gd name="connsiteY2" fmla="*/ 523178 h 4135502"/>
              <a:gd name="connsiteX3" fmla="*/ 8520057 w 8520057"/>
              <a:gd name="connsiteY3" fmla="*/ 6811 h 4135502"/>
              <a:gd name="connsiteX4" fmla="*/ 8520057 w 8520057"/>
              <a:gd name="connsiteY4" fmla="*/ 6811 h 4135502"/>
              <a:gd name="connsiteX0" fmla="*/ 0 w 8520057"/>
              <a:gd name="connsiteY0" fmla="*/ 4015037 h 4059578"/>
              <a:gd name="connsiteX1" fmla="*/ 3453205 w 8520057"/>
              <a:gd name="connsiteY1" fmla="*/ 3509429 h 4059578"/>
              <a:gd name="connsiteX2" fmla="*/ 5152913 w 8520057"/>
              <a:gd name="connsiteY2" fmla="*/ 518803 h 4059578"/>
              <a:gd name="connsiteX3" fmla="*/ 8520057 w 8520057"/>
              <a:gd name="connsiteY3" fmla="*/ 2436 h 4059578"/>
              <a:gd name="connsiteX4" fmla="*/ 8520057 w 8520057"/>
              <a:gd name="connsiteY4" fmla="*/ 2436 h 4059578"/>
              <a:gd name="connsiteX0" fmla="*/ 0 w 8520057"/>
              <a:gd name="connsiteY0" fmla="*/ 4015037 h 4099967"/>
              <a:gd name="connsiteX1" fmla="*/ 3453205 w 8520057"/>
              <a:gd name="connsiteY1" fmla="*/ 3509429 h 4099967"/>
              <a:gd name="connsiteX2" fmla="*/ 5152913 w 8520057"/>
              <a:gd name="connsiteY2" fmla="*/ 518803 h 4099967"/>
              <a:gd name="connsiteX3" fmla="*/ 8520057 w 8520057"/>
              <a:gd name="connsiteY3" fmla="*/ 2436 h 4099967"/>
              <a:gd name="connsiteX4" fmla="*/ 8520057 w 8520057"/>
              <a:gd name="connsiteY4" fmla="*/ 2436 h 4099967"/>
              <a:gd name="connsiteX0" fmla="*/ 0 w 8520057"/>
              <a:gd name="connsiteY0" fmla="*/ 4012601 h 4020681"/>
              <a:gd name="connsiteX1" fmla="*/ 3722146 w 8520057"/>
              <a:gd name="connsiteY1" fmla="*/ 2538804 h 4020681"/>
              <a:gd name="connsiteX2" fmla="*/ 5152913 w 8520057"/>
              <a:gd name="connsiteY2" fmla="*/ 516367 h 4020681"/>
              <a:gd name="connsiteX3" fmla="*/ 8520057 w 8520057"/>
              <a:gd name="connsiteY3" fmla="*/ 0 h 4020681"/>
              <a:gd name="connsiteX4" fmla="*/ 8520057 w 8520057"/>
              <a:gd name="connsiteY4" fmla="*/ 0 h 4020681"/>
              <a:gd name="connsiteX0" fmla="*/ 0 w 8520057"/>
              <a:gd name="connsiteY0" fmla="*/ 4012601 h 4020068"/>
              <a:gd name="connsiteX1" fmla="*/ 3722146 w 8520057"/>
              <a:gd name="connsiteY1" fmla="*/ 2538804 h 4020068"/>
              <a:gd name="connsiteX2" fmla="*/ 5152913 w 8520057"/>
              <a:gd name="connsiteY2" fmla="*/ 516367 h 4020068"/>
              <a:gd name="connsiteX3" fmla="*/ 8520057 w 8520057"/>
              <a:gd name="connsiteY3" fmla="*/ 0 h 4020068"/>
              <a:gd name="connsiteX4" fmla="*/ 8520057 w 8520057"/>
              <a:gd name="connsiteY4" fmla="*/ 0 h 4020068"/>
              <a:gd name="connsiteX0" fmla="*/ 0 w 8520057"/>
              <a:gd name="connsiteY0" fmla="*/ 4012748 h 4037247"/>
              <a:gd name="connsiteX1" fmla="*/ 3560781 w 8520057"/>
              <a:gd name="connsiteY1" fmla="*/ 3238199 h 4037247"/>
              <a:gd name="connsiteX2" fmla="*/ 5152913 w 8520057"/>
              <a:gd name="connsiteY2" fmla="*/ 516514 h 4037247"/>
              <a:gd name="connsiteX3" fmla="*/ 8520057 w 8520057"/>
              <a:gd name="connsiteY3" fmla="*/ 147 h 4037247"/>
              <a:gd name="connsiteX4" fmla="*/ 8520057 w 8520057"/>
              <a:gd name="connsiteY4" fmla="*/ 147 h 4037247"/>
              <a:gd name="connsiteX0" fmla="*/ 0 w 8520057"/>
              <a:gd name="connsiteY0" fmla="*/ 4012601 h 4032167"/>
              <a:gd name="connsiteX1" fmla="*/ 3560781 w 8520057"/>
              <a:gd name="connsiteY1" fmla="*/ 3238052 h 4032167"/>
              <a:gd name="connsiteX2" fmla="*/ 4432150 w 8520057"/>
              <a:gd name="connsiteY2" fmla="*/ 398033 h 4032167"/>
              <a:gd name="connsiteX3" fmla="*/ 8520057 w 8520057"/>
              <a:gd name="connsiteY3" fmla="*/ 0 h 4032167"/>
              <a:gd name="connsiteX4" fmla="*/ 8520057 w 8520057"/>
              <a:gd name="connsiteY4" fmla="*/ 0 h 4032167"/>
              <a:gd name="connsiteX0" fmla="*/ 0 w 8520057"/>
              <a:gd name="connsiteY0" fmla="*/ 4012601 h 4051165"/>
              <a:gd name="connsiteX1" fmla="*/ 3550023 w 8520057"/>
              <a:gd name="connsiteY1" fmla="*/ 3453205 h 4051165"/>
              <a:gd name="connsiteX2" fmla="*/ 4432150 w 8520057"/>
              <a:gd name="connsiteY2" fmla="*/ 398033 h 4051165"/>
              <a:gd name="connsiteX3" fmla="*/ 8520057 w 8520057"/>
              <a:gd name="connsiteY3" fmla="*/ 0 h 4051165"/>
              <a:gd name="connsiteX4" fmla="*/ 8520057 w 8520057"/>
              <a:gd name="connsiteY4" fmla="*/ 0 h 4051165"/>
              <a:gd name="connsiteX0" fmla="*/ 0 w 8544902"/>
              <a:gd name="connsiteY0" fmla="*/ 4128639 h 4167203"/>
              <a:gd name="connsiteX1" fmla="*/ 3550023 w 8544902"/>
              <a:gd name="connsiteY1" fmla="*/ 3569243 h 4167203"/>
              <a:gd name="connsiteX2" fmla="*/ 4432150 w 8544902"/>
              <a:gd name="connsiteY2" fmla="*/ 514071 h 4167203"/>
              <a:gd name="connsiteX3" fmla="*/ 8520057 w 8544902"/>
              <a:gd name="connsiteY3" fmla="*/ 116038 h 4167203"/>
              <a:gd name="connsiteX4" fmla="*/ 6024283 w 8544902"/>
              <a:gd name="connsiteY4" fmla="*/ 1740442 h 4167203"/>
              <a:gd name="connsiteX0" fmla="*/ 0 w 8520057"/>
              <a:gd name="connsiteY0" fmla="*/ 4128639 h 4167203"/>
              <a:gd name="connsiteX1" fmla="*/ 3550023 w 8520057"/>
              <a:gd name="connsiteY1" fmla="*/ 3569243 h 4167203"/>
              <a:gd name="connsiteX2" fmla="*/ 4432150 w 8520057"/>
              <a:gd name="connsiteY2" fmla="*/ 514071 h 4167203"/>
              <a:gd name="connsiteX3" fmla="*/ 8520057 w 8520057"/>
              <a:gd name="connsiteY3" fmla="*/ 116038 h 4167203"/>
              <a:gd name="connsiteX0" fmla="*/ 0 w 6626711"/>
              <a:gd name="connsiteY0" fmla="*/ 3922775 h 3961339"/>
              <a:gd name="connsiteX1" fmla="*/ 3550023 w 6626711"/>
              <a:gd name="connsiteY1" fmla="*/ 3363379 h 3961339"/>
              <a:gd name="connsiteX2" fmla="*/ 4432150 w 6626711"/>
              <a:gd name="connsiteY2" fmla="*/ 308207 h 3961339"/>
              <a:gd name="connsiteX3" fmla="*/ 6626711 w 6626711"/>
              <a:gd name="connsiteY3" fmla="*/ 243661 h 3961339"/>
              <a:gd name="connsiteX0" fmla="*/ 0 w 6626711"/>
              <a:gd name="connsiteY0" fmla="*/ 3925003 h 3968829"/>
              <a:gd name="connsiteX1" fmla="*/ 2119256 w 6626711"/>
              <a:gd name="connsiteY1" fmla="*/ 3397880 h 3968829"/>
              <a:gd name="connsiteX2" fmla="*/ 4432150 w 6626711"/>
              <a:gd name="connsiteY2" fmla="*/ 310435 h 3968829"/>
              <a:gd name="connsiteX3" fmla="*/ 6626711 w 6626711"/>
              <a:gd name="connsiteY3" fmla="*/ 245889 h 3968829"/>
              <a:gd name="connsiteX0" fmla="*/ 0 w 6626711"/>
              <a:gd name="connsiteY0" fmla="*/ 3816508 h 3854814"/>
              <a:gd name="connsiteX1" fmla="*/ 2119256 w 6626711"/>
              <a:gd name="connsiteY1" fmla="*/ 3289385 h 3854814"/>
              <a:gd name="connsiteX2" fmla="*/ 3001383 w 6626711"/>
              <a:gd name="connsiteY2" fmla="*/ 427851 h 3854814"/>
              <a:gd name="connsiteX3" fmla="*/ 6626711 w 6626711"/>
              <a:gd name="connsiteY3" fmla="*/ 137394 h 3854814"/>
              <a:gd name="connsiteX0" fmla="*/ 0 w 6723530"/>
              <a:gd name="connsiteY0" fmla="*/ 3846868 h 3885174"/>
              <a:gd name="connsiteX1" fmla="*/ 2119256 w 6723530"/>
              <a:gd name="connsiteY1" fmla="*/ 3319745 h 3885174"/>
              <a:gd name="connsiteX2" fmla="*/ 3001383 w 6723530"/>
              <a:gd name="connsiteY2" fmla="*/ 458211 h 3885174"/>
              <a:gd name="connsiteX3" fmla="*/ 6723530 w 6723530"/>
              <a:gd name="connsiteY3" fmla="*/ 124724 h 3885174"/>
              <a:gd name="connsiteX0" fmla="*/ 0 w 6723530"/>
              <a:gd name="connsiteY0" fmla="*/ 3767642 h 3805948"/>
              <a:gd name="connsiteX1" fmla="*/ 2119256 w 6723530"/>
              <a:gd name="connsiteY1" fmla="*/ 3240519 h 3805948"/>
              <a:gd name="connsiteX2" fmla="*/ 3001383 w 6723530"/>
              <a:gd name="connsiteY2" fmla="*/ 378985 h 3805948"/>
              <a:gd name="connsiteX3" fmla="*/ 6723530 w 6723530"/>
              <a:gd name="connsiteY3" fmla="*/ 45498 h 3805948"/>
              <a:gd name="connsiteX0" fmla="*/ 0 w 5970495"/>
              <a:gd name="connsiteY0" fmla="*/ 3894193 h 3932499"/>
              <a:gd name="connsiteX1" fmla="*/ 2119256 w 5970495"/>
              <a:gd name="connsiteY1" fmla="*/ 3367070 h 3932499"/>
              <a:gd name="connsiteX2" fmla="*/ 3001383 w 5970495"/>
              <a:gd name="connsiteY2" fmla="*/ 505536 h 3932499"/>
              <a:gd name="connsiteX3" fmla="*/ 5970495 w 5970495"/>
              <a:gd name="connsiteY3" fmla="*/ 10684 h 3932499"/>
              <a:gd name="connsiteX0" fmla="*/ 0 w 5970495"/>
              <a:gd name="connsiteY0" fmla="*/ 3894193 h 3913586"/>
              <a:gd name="connsiteX1" fmla="*/ 2076225 w 5970495"/>
              <a:gd name="connsiteY1" fmla="*/ 3151918 h 3913586"/>
              <a:gd name="connsiteX2" fmla="*/ 3001383 w 5970495"/>
              <a:gd name="connsiteY2" fmla="*/ 505536 h 3913586"/>
              <a:gd name="connsiteX3" fmla="*/ 5970495 w 5970495"/>
              <a:gd name="connsiteY3" fmla="*/ 10684 h 3913586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3906825 w 5970495"/>
              <a:gd name="connsiteY3" fmla="*/ 113887 h 3902902"/>
              <a:gd name="connsiteX4" fmla="*/ 5970495 w 5970495"/>
              <a:gd name="connsiteY4" fmla="*/ 0 h 3902902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4097325 w 5970495"/>
              <a:gd name="connsiteY3" fmla="*/ 1323562 h 3902902"/>
              <a:gd name="connsiteX4" fmla="*/ 5970495 w 5970495"/>
              <a:gd name="connsiteY4" fmla="*/ 0 h 3902902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521061 h 3540454"/>
              <a:gd name="connsiteX1" fmla="*/ 2076225 w 6008595"/>
              <a:gd name="connsiteY1" fmla="*/ 2778786 h 3540454"/>
              <a:gd name="connsiteX2" fmla="*/ 3001383 w 6008595"/>
              <a:gd name="connsiteY2" fmla="*/ 132404 h 3540454"/>
              <a:gd name="connsiteX3" fmla="*/ 4097325 w 6008595"/>
              <a:gd name="connsiteY3" fmla="*/ 961114 h 3540454"/>
              <a:gd name="connsiteX4" fmla="*/ 6008595 w 6008595"/>
              <a:gd name="connsiteY4" fmla="*/ 2304552 h 3540454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20577 h 3535735"/>
              <a:gd name="connsiteX1" fmla="*/ 2076225 w 6122895"/>
              <a:gd name="connsiteY1" fmla="*/ 2778302 h 3535735"/>
              <a:gd name="connsiteX2" fmla="*/ 3001383 w 6122895"/>
              <a:gd name="connsiteY2" fmla="*/ 131920 h 3535735"/>
              <a:gd name="connsiteX3" fmla="*/ 4097325 w 6122895"/>
              <a:gd name="connsiteY3" fmla="*/ 960630 h 3535735"/>
              <a:gd name="connsiteX4" fmla="*/ 6122895 w 6122895"/>
              <a:gd name="connsiteY4" fmla="*/ 2104043 h 3535735"/>
              <a:gd name="connsiteX0" fmla="*/ 0 w 7085722"/>
              <a:gd name="connsiteY0" fmla="*/ 3520577 h 3535735"/>
              <a:gd name="connsiteX1" fmla="*/ 2076225 w 7085722"/>
              <a:gd name="connsiteY1" fmla="*/ 2778302 h 3535735"/>
              <a:gd name="connsiteX2" fmla="*/ 3001383 w 7085722"/>
              <a:gd name="connsiteY2" fmla="*/ 131920 h 3535735"/>
              <a:gd name="connsiteX3" fmla="*/ 4097325 w 7085722"/>
              <a:gd name="connsiteY3" fmla="*/ 960630 h 3535735"/>
              <a:gd name="connsiteX4" fmla="*/ 7085722 w 7085722"/>
              <a:gd name="connsiteY4" fmla="*/ 2950077 h 3535735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351506 w 7085722"/>
              <a:gd name="connsiteY4" fmla="*/ 2057061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249670 w 7085722"/>
              <a:gd name="connsiteY4" fmla="*/ 2381167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332991 w 7085722"/>
              <a:gd name="connsiteY4" fmla="*/ 2167522 h 3547998"/>
              <a:gd name="connsiteX5" fmla="*/ 7085722 w 7085722"/>
              <a:gd name="connsiteY5" fmla="*/ 2962340 h 3547998"/>
              <a:gd name="connsiteX0" fmla="*/ 0 w 7085722"/>
              <a:gd name="connsiteY0" fmla="*/ 3447097 h 3462255"/>
              <a:gd name="connsiteX1" fmla="*/ 2076225 w 7085722"/>
              <a:gd name="connsiteY1" fmla="*/ 2704822 h 3462255"/>
              <a:gd name="connsiteX2" fmla="*/ 3001383 w 7085722"/>
              <a:gd name="connsiteY2" fmla="*/ 58440 h 3462255"/>
              <a:gd name="connsiteX3" fmla="*/ 3912166 w 7085722"/>
              <a:gd name="connsiteY3" fmla="*/ 989700 h 3462255"/>
              <a:gd name="connsiteX4" fmla="*/ 5332991 w 7085722"/>
              <a:gd name="connsiteY4" fmla="*/ 2081779 h 3462255"/>
              <a:gd name="connsiteX5" fmla="*/ 7085722 w 7085722"/>
              <a:gd name="connsiteY5" fmla="*/ 2876597 h 3462255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466985"/>
              <a:gd name="connsiteY0" fmla="*/ 3443556 h 3462949"/>
              <a:gd name="connsiteX1" fmla="*/ 1559467 w 7466985"/>
              <a:gd name="connsiteY1" fmla="*/ 2701281 h 3462949"/>
              <a:gd name="connsiteX2" fmla="*/ 2484625 w 7466985"/>
              <a:gd name="connsiteY2" fmla="*/ 54899 h 3462949"/>
              <a:gd name="connsiteX3" fmla="*/ 3302829 w 7466985"/>
              <a:gd name="connsiteY3" fmla="*/ 1020343 h 3462949"/>
              <a:gd name="connsiteX4" fmla="*/ 4816233 w 7466985"/>
              <a:gd name="connsiteY4" fmla="*/ 2078238 h 3462949"/>
              <a:gd name="connsiteX5" fmla="*/ 7466985 w 7466985"/>
              <a:gd name="connsiteY5" fmla="*/ 3240526 h 3462949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39628" h="3443556">
                <a:moveTo>
                  <a:pt x="0" y="3443556"/>
                </a:moveTo>
                <a:cubicBezTo>
                  <a:pt x="1131499" y="3319079"/>
                  <a:pt x="1075799" y="3377152"/>
                  <a:pt x="1559467" y="2701281"/>
                </a:cubicBezTo>
                <a:cubicBezTo>
                  <a:pt x="2043135" y="2025410"/>
                  <a:pt x="2194065" y="335055"/>
                  <a:pt x="2484625" y="54899"/>
                </a:cubicBezTo>
                <a:cubicBezTo>
                  <a:pt x="2775185" y="-225257"/>
                  <a:pt x="3016065" y="638966"/>
                  <a:pt x="3302829" y="1020343"/>
                </a:cubicBezTo>
                <a:cubicBezTo>
                  <a:pt x="3589593" y="1444448"/>
                  <a:pt x="4299652" y="1763756"/>
                  <a:pt x="4816233" y="2078238"/>
                </a:cubicBezTo>
                <a:cubicBezTo>
                  <a:pt x="5747480" y="2691823"/>
                  <a:pt x="7318516" y="3442768"/>
                  <a:pt x="8639628" y="3428534"/>
                </a:cubicBezTo>
              </a:path>
            </a:pathLst>
          </a:custGeom>
          <a:noFill/>
          <a:ln w="635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smtClean="0">
              <a:ln>
                <a:noFill/>
              </a:ln>
              <a:solidFill>
                <a:srgbClr val="B50E20"/>
              </a:solidFill>
              <a:effectLst/>
              <a:uLnTx/>
              <a:uFillTx/>
            </a:endParaRPr>
          </a:p>
        </p:txBody>
      </p:sp>
      <p:cxnSp>
        <p:nvCxnSpPr>
          <p:cNvPr id="15" name="Gerade Verbindung mit Pfeil 14"/>
          <p:cNvCxnSpPr/>
          <p:nvPr/>
        </p:nvCxnSpPr>
        <p:spPr bwMode="auto">
          <a:xfrm>
            <a:off x="899592" y="5003034"/>
            <a:ext cx="7848872" cy="0"/>
          </a:xfrm>
          <a:prstGeom prst="straightConnector1">
            <a:avLst/>
          </a:prstGeom>
          <a:noFill/>
          <a:ln w="38100" cap="flat" cmpd="sng" algn="ctr">
            <a:solidFill>
              <a:srgbClr val="141313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mit Pfeil 15"/>
          <p:cNvCxnSpPr/>
          <p:nvPr/>
        </p:nvCxnSpPr>
        <p:spPr bwMode="auto">
          <a:xfrm flipV="1">
            <a:off x="916209" y="1092797"/>
            <a:ext cx="0" cy="3895461"/>
          </a:xfrm>
          <a:prstGeom prst="straightConnector1">
            <a:avLst/>
          </a:prstGeom>
          <a:noFill/>
          <a:ln w="38100" cap="flat" cmpd="sng" algn="ctr">
            <a:solidFill>
              <a:srgbClr val="141313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feld 4"/>
          <p:cNvSpPr txBox="1"/>
          <p:nvPr/>
        </p:nvSpPr>
        <p:spPr>
          <a:xfrm>
            <a:off x="35496" y="1001625"/>
            <a:ext cx="9361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Mediale</a:t>
            </a:r>
          </a:p>
          <a:p>
            <a:r>
              <a:rPr lang="de-DE" sz="1400" dirty="0" smtClean="0"/>
              <a:t>Aufmerk-</a:t>
            </a:r>
          </a:p>
          <a:p>
            <a:r>
              <a:rPr lang="de-DE" sz="1400" dirty="0" err="1" smtClean="0"/>
              <a:t>samkeit</a:t>
            </a:r>
            <a:endParaRPr lang="de-DE" sz="1400" dirty="0"/>
          </a:p>
        </p:txBody>
      </p:sp>
      <p:sp>
        <p:nvSpPr>
          <p:cNvPr id="24" name="Textfeld 23"/>
          <p:cNvSpPr txBox="1"/>
          <p:nvPr/>
        </p:nvSpPr>
        <p:spPr>
          <a:xfrm>
            <a:off x="8244408" y="5065439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Zeit</a:t>
            </a:r>
            <a:endParaRPr lang="de-DE" sz="14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sz="2400" dirty="0" smtClean="0"/>
              <a:t>Krisenverlauf an der UMM</a:t>
            </a:r>
          </a:p>
        </p:txBody>
      </p:sp>
      <p:cxnSp>
        <p:nvCxnSpPr>
          <p:cNvPr id="15" name="Gerade Verbindung mit Pfeil 14"/>
          <p:cNvCxnSpPr/>
          <p:nvPr/>
        </p:nvCxnSpPr>
        <p:spPr bwMode="auto">
          <a:xfrm>
            <a:off x="899592" y="5003034"/>
            <a:ext cx="7848872" cy="0"/>
          </a:xfrm>
          <a:prstGeom prst="straightConnector1">
            <a:avLst/>
          </a:prstGeom>
          <a:noFill/>
          <a:ln w="38100" cap="flat" cmpd="sng" algn="ctr">
            <a:solidFill>
              <a:srgbClr val="141313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mit Pfeil 15"/>
          <p:cNvCxnSpPr/>
          <p:nvPr/>
        </p:nvCxnSpPr>
        <p:spPr bwMode="auto">
          <a:xfrm flipV="1">
            <a:off x="916209" y="1092797"/>
            <a:ext cx="0" cy="3895461"/>
          </a:xfrm>
          <a:prstGeom prst="straightConnector1">
            <a:avLst/>
          </a:prstGeom>
          <a:noFill/>
          <a:ln w="38100" cap="flat" cmpd="sng" algn="ctr">
            <a:solidFill>
              <a:srgbClr val="141313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feld 4"/>
          <p:cNvSpPr txBox="1"/>
          <p:nvPr/>
        </p:nvSpPr>
        <p:spPr>
          <a:xfrm>
            <a:off x="35496" y="1001625"/>
            <a:ext cx="9361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Mediale</a:t>
            </a:r>
          </a:p>
          <a:p>
            <a:r>
              <a:rPr lang="de-DE" sz="1400" dirty="0" smtClean="0"/>
              <a:t>Aufmerk-</a:t>
            </a:r>
          </a:p>
          <a:p>
            <a:r>
              <a:rPr lang="de-DE" sz="1400" dirty="0" err="1" smtClean="0"/>
              <a:t>samkeit</a:t>
            </a:r>
            <a:endParaRPr lang="de-DE" sz="1400" dirty="0"/>
          </a:p>
        </p:txBody>
      </p:sp>
      <p:sp>
        <p:nvSpPr>
          <p:cNvPr id="24" name="Textfeld 23"/>
          <p:cNvSpPr txBox="1"/>
          <p:nvPr/>
        </p:nvSpPr>
        <p:spPr>
          <a:xfrm>
            <a:off x="8244408" y="5065439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Zeit</a:t>
            </a:r>
            <a:endParaRPr lang="de-DE" sz="1400" dirty="0"/>
          </a:p>
        </p:txBody>
      </p:sp>
      <p:sp>
        <p:nvSpPr>
          <p:cNvPr id="8" name="Freihandform 7"/>
          <p:cNvSpPr/>
          <p:nvPr/>
        </p:nvSpPr>
        <p:spPr bwMode="auto">
          <a:xfrm>
            <a:off x="1064342" y="1370023"/>
            <a:ext cx="7379896" cy="3465575"/>
          </a:xfrm>
          <a:custGeom>
            <a:avLst/>
            <a:gdLst>
              <a:gd name="connsiteX0" fmla="*/ 0 w 8100509"/>
              <a:gd name="connsiteY0" fmla="*/ 3761230 h 4056332"/>
              <a:gd name="connsiteX1" fmla="*/ 2775473 w 8100509"/>
              <a:gd name="connsiteY1" fmla="*/ 3739714 h 4056332"/>
              <a:gd name="connsiteX2" fmla="*/ 4733365 w 8100509"/>
              <a:gd name="connsiteY2" fmla="*/ 523178 h 4056332"/>
              <a:gd name="connsiteX3" fmla="*/ 8100509 w 8100509"/>
              <a:gd name="connsiteY3" fmla="*/ 6811 h 4056332"/>
              <a:gd name="connsiteX4" fmla="*/ 8100509 w 8100509"/>
              <a:gd name="connsiteY4" fmla="*/ 6811 h 4056332"/>
              <a:gd name="connsiteX0" fmla="*/ 0 w 8186570"/>
              <a:gd name="connsiteY0" fmla="*/ 3922594 h 4141160"/>
              <a:gd name="connsiteX1" fmla="*/ 2861534 w 8186570"/>
              <a:gd name="connsiteY1" fmla="*/ 3739714 h 4141160"/>
              <a:gd name="connsiteX2" fmla="*/ 4819426 w 8186570"/>
              <a:gd name="connsiteY2" fmla="*/ 523178 h 4141160"/>
              <a:gd name="connsiteX3" fmla="*/ 8186570 w 8186570"/>
              <a:gd name="connsiteY3" fmla="*/ 6811 h 4141160"/>
              <a:gd name="connsiteX4" fmla="*/ 8186570 w 8186570"/>
              <a:gd name="connsiteY4" fmla="*/ 6811 h 4141160"/>
              <a:gd name="connsiteX0" fmla="*/ 0 w 8186570"/>
              <a:gd name="connsiteY0" fmla="*/ 3922594 h 4081704"/>
              <a:gd name="connsiteX1" fmla="*/ 2861534 w 8186570"/>
              <a:gd name="connsiteY1" fmla="*/ 3739714 h 4081704"/>
              <a:gd name="connsiteX2" fmla="*/ 4819426 w 8186570"/>
              <a:gd name="connsiteY2" fmla="*/ 523178 h 4081704"/>
              <a:gd name="connsiteX3" fmla="*/ 8186570 w 8186570"/>
              <a:gd name="connsiteY3" fmla="*/ 6811 h 4081704"/>
              <a:gd name="connsiteX4" fmla="*/ 8186570 w 8186570"/>
              <a:gd name="connsiteY4" fmla="*/ 6811 h 4081704"/>
              <a:gd name="connsiteX0" fmla="*/ 0 w 8520057"/>
              <a:gd name="connsiteY0" fmla="*/ 4019412 h 4135502"/>
              <a:gd name="connsiteX1" fmla="*/ 3195021 w 8520057"/>
              <a:gd name="connsiteY1" fmla="*/ 3739714 h 4135502"/>
              <a:gd name="connsiteX2" fmla="*/ 5152913 w 8520057"/>
              <a:gd name="connsiteY2" fmla="*/ 523178 h 4135502"/>
              <a:gd name="connsiteX3" fmla="*/ 8520057 w 8520057"/>
              <a:gd name="connsiteY3" fmla="*/ 6811 h 4135502"/>
              <a:gd name="connsiteX4" fmla="*/ 8520057 w 8520057"/>
              <a:gd name="connsiteY4" fmla="*/ 6811 h 4135502"/>
              <a:gd name="connsiteX0" fmla="*/ 0 w 8520057"/>
              <a:gd name="connsiteY0" fmla="*/ 4015037 h 4059578"/>
              <a:gd name="connsiteX1" fmla="*/ 3453205 w 8520057"/>
              <a:gd name="connsiteY1" fmla="*/ 3509429 h 4059578"/>
              <a:gd name="connsiteX2" fmla="*/ 5152913 w 8520057"/>
              <a:gd name="connsiteY2" fmla="*/ 518803 h 4059578"/>
              <a:gd name="connsiteX3" fmla="*/ 8520057 w 8520057"/>
              <a:gd name="connsiteY3" fmla="*/ 2436 h 4059578"/>
              <a:gd name="connsiteX4" fmla="*/ 8520057 w 8520057"/>
              <a:gd name="connsiteY4" fmla="*/ 2436 h 4059578"/>
              <a:gd name="connsiteX0" fmla="*/ 0 w 8520057"/>
              <a:gd name="connsiteY0" fmla="*/ 4015037 h 4099967"/>
              <a:gd name="connsiteX1" fmla="*/ 3453205 w 8520057"/>
              <a:gd name="connsiteY1" fmla="*/ 3509429 h 4099967"/>
              <a:gd name="connsiteX2" fmla="*/ 5152913 w 8520057"/>
              <a:gd name="connsiteY2" fmla="*/ 518803 h 4099967"/>
              <a:gd name="connsiteX3" fmla="*/ 8520057 w 8520057"/>
              <a:gd name="connsiteY3" fmla="*/ 2436 h 4099967"/>
              <a:gd name="connsiteX4" fmla="*/ 8520057 w 8520057"/>
              <a:gd name="connsiteY4" fmla="*/ 2436 h 4099967"/>
              <a:gd name="connsiteX0" fmla="*/ 0 w 8520057"/>
              <a:gd name="connsiteY0" fmla="*/ 4012601 h 4020681"/>
              <a:gd name="connsiteX1" fmla="*/ 3722146 w 8520057"/>
              <a:gd name="connsiteY1" fmla="*/ 2538804 h 4020681"/>
              <a:gd name="connsiteX2" fmla="*/ 5152913 w 8520057"/>
              <a:gd name="connsiteY2" fmla="*/ 516367 h 4020681"/>
              <a:gd name="connsiteX3" fmla="*/ 8520057 w 8520057"/>
              <a:gd name="connsiteY3" fmla="*/ 0 h 4020681"/>
              <a:gd name="connsiteX4" fmla="*/ 8520057 w 8520057"/>
              <a:gd name="connsiteY4" fmla="*/ 0 h 4020681"/>
              <a:gd name="connsiteX0" fmla="*/ 0 w 8520057"/>
              <a:gd name="connsiteY0" fmla="*/ 4012601 h 4020068"/>
              <a:gd name="connsiteX1" fmla="*/ 3722146 w 8520057"/>
              <a:gd name="connsiteY1" fmla="*/ 2538804 h 4020068"/>
              <a:gd name="connsiteX2" fmla="*/ 5152913 w 8520057"/>
              <a:gd name="connsiteY2" fmla="*/ 516367 h 4020068"/>
              <a:gd name="connsiteX3" fmla="*/ 8520057 w 8520057"/>
              <a:gd name="connsiteY3" fmla="*/ 0 h 4020068"/>
              <a:gd name="connsiteX4" fmla="*/ 8520057 w 8520057"/>
              <a:gd name="connsiteY4" fmla="*/ 0 h 4020068"/>
              <a:gd name="connsiteX0" fmla="*/ 0 w 8520057"/>
              <a:gd name="connsiteY0" fmla="*/ 4012748 h 4037247"/>
              <a:gd name="connsiteX1" fmla="*/ 3560781 w 8520057"/>
              <a:gd name="connsiteY1" fmla="*/ 3238199 h 4037247"/>
              <a:gd name="connsiteX2" fmla="*/ 5152913 w 8520057"/>
              <a:gd name="connsiteY2" fmla="*/ 516514 h 4037247"/>
              <a:gd name="connsiteX3" fmla="*/ 8520057 w 8520057"/>
              <a:gd name="connsiteY3" fmla="*/ 147 h 4037247"/>
              <a:gd name="connsiteX4" fmla="*/ 8520057 w 8520057"/>
              <a:gd name="connsiteY4" fmla="*/ 147 h 4037247"/>
              <a:gd name="connsiteX0" fmla="*/ 0 w 8520057"/>
              <a:gd name="connsiteY0" fmla="*/ 4012601 h 4032167"/>
              <a:gd name="connsiteX1" fmla="*/ 3560781 w 8520057"/>
              <a:gd name="connsiteY1" fmla="*/ 3238052 h 4032167"/>
              <a:gd name="connsiteX2" fmla="*/ 4432150 w 8520057"/>
              <a:gd name="connsiteY2" fmla="*/ 398033 h 4032167"/>
              <a:gd name="connsiteX3" fmla="*/ 8520057 w 8520057"/>
              <a:gd name="connsiteY3" fmla="*/ 0 h 4032167"/>
              <a:gd name="connsiteX4" fmla="*/ 8520057 w 8520057"/>
              <a:gd name="connsiteY4" fmla="*/ 0 h 4032167"/>
              <a:gd name="connsiteX0" fmla="*/ 0 w 8520057"/>
              <a:gd name="connsiteY0" fmla="*/ 4012601 h 4051165"/>
              <a:gd name="connsiteX1" fmla="*/ 3550023 w 8520057"/>
              <a:gd name="connsiteY1" fmla="*/ 3453205 h 4051165"/>
              <a:gd name="connsiteX2" fmla="*/ 4432150 w 8520057"/>
              <a:gd name="connsiteY2" fmla="*/ 398033 h 4051165"/>
              <a:gd name="connsiteX3" fmla="*/ 8520057 w 8520057"/>
              <a:gd name="connsiteY3" fmla="*/ 0 h 4051165"/>
              <a:gd name="connsiteX4" fmla="*/ 8520057 w 8520057"/>
              <a:gd name="connsiteY4" fmla="*/ 0 h 4051165"/>
              <a:gd name="connsiteX0" fmla="*/ 0 w 8544902"/>
              <a:gd name="connsiteY0" fmla="*/ 4128639 h 4167203"/>
              <a:gd name="connsiteX1" fmla="*/ 3550023 w 8544902"/>
              <a:gd name="connsiteY1" fmla="*/ 3569243 h 4167203"/>
              <a:gd name="connsiteX2" fmla="*/ 4432150 w 8544902"/>
              <a:gd name="connsiteY2" fmla="*/ 514071 h 4167203"/>
              <a:gd name="connsiteX3" fmla="*/ 8520057 w 8544902"/>
              <a:gd name="connsiteY3" fmla="*/ 116038 h 4167203"/>
              <a:gd name="connsiteX4" fmla="*/ 6024283 w 8544902"/>
              <a:gd name="connsiteY4" fmla="*/ 1740442 h 4167203"/>
              <a:gd name="connsiteX0" fmla="*/ 0 w 8520057"/>
              <a:gd name="connsiteY0" fmla="*/ 4128639 h 4167203"/>
              <a:gd name="connsiteX1" fmla="*/ 3550023 w 8520057"/>
              <a:gd name="connsiteY1" fmla="*/ 3569243 h 4167203"/>
              <a:gd name="connsiteX2" fmla="*/ 4432150 w 8520057"/>
              <a:gd name="connsiteY2" fmla="*/ 514071 h 4167203"/>
              <a:gd name="connsiteX3" fmla="*/ 8520057 w 8520057"/>
              <a:gd name="connsiteY3" fmla="*/ 116038 h 4167203"/>
              <a:gd name="connsiteX0" fmla="*/ 0 w 6626711"/>
              <a:gd name="connsiteY0" fmla="*/ 3922775 h 3961339"/>
              <a:gd name="connsiteX1" fmla="*/ 3550023 w 6626711"/>
              <a:gd name="connsiteY1" fmla="*/ 3363379 h 3961339"/>
              <a:gd name="connsiteX2" fmla="*/ 4432150 w 6626711"/>
              <a:gd name="connsiteY2" fmla="*/ 308207 h 3961339"/>
              <a:gd name="connsiteX3" fmla="*/ 6626711 w 6626711"/>
              <a:gd name="connsiteY3" fmla="*/ 243661 h 3961339"/>
              <a:gd name="connsiteX0" fmla="*/ 0 w 6626711"/>
              <a:gd name="connsiteY0" fmla="*/ 3925003 h 3968829"/>
              <a:gd name="connsiteX1" fmla="*/ 2119256 w 6626711"/>
              <a:gd name="connsiteY1" fmla="*/ 3397880 h 3968829"/>
              <a:gd name="connsiteX2" fmla="*/ 4432150 w 6626711"/>
              <a:gd name="connsiteY2" fmla="*/ 310435 h 3968829"/>
              <a:gd name="connsiteX3" fmla="*/ 6626711 w 6626711"/>
              <a:gd name="connsiteY3" fmla="*/ 245889 h 3968829"/>
              <a:gd name="connsiteX0" fmla="*/ 0 w 6626711"/>
              <a:gd name="connsiteY0" fmla="*/ 3816508 h 3854814"/>
              <a:gd name="connsiteX1" fmla="*/ 2119256 w 6626711"/>
              <a:gd name="connsiteY1" fmla="*/ 3289385 h 3854814"/>
              <a:gd name="connsiteX2" fmla="*/ 3001383 w 6626711"/>
              <a:gd name="connsiteY2" fmla="*/ 427851 h 3854814"/>
              <a:gd name="connsiteX3" fmla="*/ 6626711 w 6626711"/>
              <a:gd name="connsiteY3" fmla="*/ 137394 h 3854814"/>
              <a:gd name="connsiteX0" fmla="*/ 0 w 6723530"/>
              <a:gd name="connsiteY0" fmla="*/ 3846868 h 3885174"/>
              <a:gd name="connsiteX1" fmla="*/ 2119256 w 6723530"/>
              <a:gd name="connsiteY1" fmla="*/ 3319745 h 3885174"/>
              <a:gd name="connsiteX2" fmla="*/ 3001383 w 6723530"/>
              <a:gd name="connsiteY2" fmla="*/ 458211 h 3885174"/>
              <a:gd name="connsiteX3" fmla="*/ 6723530 w 6723530"/>
              <a:gd name="connsiteY3" fmla="*/ 124724 h 3885174"/>
              <a:gd name="connsiteX0" fmla="*/ 0 w 6723530"/>
              <a:gd name="connsiteY0" fmla="*/ 3767642 h 3805948"/>
              <a:gd name="connsiteX1" fmla="*/ 2119256 w 6723530"/>
              <a:gd name="connsiteY1" fmla="*/ 3240519 h 3805948"/>
              <a:gd name="connsiteX2" fmla="*/ 3001383 w 6723530"/>
              <a:gd name="connsiteY2" fmla="*/ 378985 h 3805948"/>
              <a:gd name="connsiteX3" fmla="*/ 6723530 w 6723530"/>
              <a:gd name="connsiteY3" fmla="*/ 45498 h 3805948"/>
              <a:gd name="connsiteX0" fmla="*/ 0 w 5970495"/>
              <a:gd name="connsiteY0" fmla="*/ 3894193 h 3932499"/>
              <a:gd name="connsiteX1" fmla="*/ 2119256 w 5970495"/>
              <a:gd name="connsiteY1" fmla="*/ 3367070 h 3932499"/>
              <a:gd name="connsiteX2" fmla="*/ 3001383 w 5970495"/>
              <a:gd name="connsiteY2" fmla="*/ 505536 h 3932499"/>
              <a:gd name="connsiteX3" fmla="*/ 5970495 w 5970495"/>
              <a:gd name="connsiteY3" fmla="*/ 10684 h 3932499"/>
              <a:gd name="connsiteX0" fmla="*/ 0 w 5970495"/>
              <a:gd name="connsiteY0" fmla="*/ 3894193 h 3913586"/>
              <a:gd name="connsiteX1" fmla="*/ 2076225 w 5970495"/>
              <a:gd name="connsiteY1" fmla="*/ 3151918 h 3913586"/>
              <a:gd name="connsiteX2" fmla="*/ 3001383 w 5970495"/>
              <a:gd name="connsiteY2" fmla="*/ 505536 h 3913586"/>
              <a:gd name="connsiteX3" fmla="*/ 5970495 w 5970495"/>
              <a:gd name="connsiteY3" fmla="*/ 10684 h 3913586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3906825 w 5970495"/>
              <a:gd name="connsiteY3" fmla="*/ 113887 h 3902902"/>
              <a:gd name="connsiteX4" fmla="*/ 5970495 w 5970495"/>
              <a:gd name="connsiteY4" fmla="*/ 0 h 3902902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4097325 w 5970495"/>
              <a:gd name="connsiteY3" fmla="*/ 1323562 h 3902902"/>
              <a:gd name="connsiteX4" fmla="*/ 5970495 w 5970495"/>
              <a:gd name="connsiteY4" fmla="*/ 0 h 3902902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521061 h 3540454"/>
              <a:gd name="connsiteX1" fmla="*/ 2076225 w 6008595"/>
              <a:gd name="connsiteY1" fmla="*/ 2778786 h 3540454"/>
              <a:gd name="connsiteX2" fmla="*/ 3001383 w 6008595"/>
              <a:gd name="connsiteY2" fmla="*/ 132404 h 3540454"/>
              <a:gd name="connsiteX3" fmla="*/ 4097325 w 6008595"/>
              <a:gd name="connsiteY3" fmla="*/ 961114 h 3540454"/>
              <a:gd name="connsiteX4" fmla="*/ 6008595 w 6008595"/>
              <a:gd name="connsiteY4" fmla="*/ 2304552 h 3540454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20577 h 3535735"/>
              <a:gd name="connsiteX1" fmla="*/ 2076225 w 6122895"/>
              <a:gd name="connsiteY1" fmla="*/ 2778302 h 3535735"/>
              <a:gd name="connsiteX2" fmla="*/ 3001383 w 6122895"/>
              <a:gd name="connsiteY2" fmla="*/ 131920 h 3535735"/>
              <a:gd name="connsiteX3" fmla="*/ 4097325 w 6122895"/>
              <a:gd name="connsiteY3" fmla="*/ 960630 h 3535735"/>
              <a:gd name="connsiteX4" fmla="*/ 6122895 w 6122895"/>
              <a:gd name="connsiteY4" fmla="*/ 2104043 h 3535735"/>
              <a:gd name="connsiteX0" fmla="*/ 0 w 7085722"/>
              <a:gd name="connsiteY0" fmla="*/ 3520577 h 3535735"/>
              <a:gd name="connsiteX1" fmla="*/ 2076225 w 7085722"/>
              <a:gd name="connsiteY1" fmla="*/ 2778302 h 3535735"/>
              <a:gd name="connsiteX2" fmla="*/ 3001383 w 7085722"/>
              <a:gd name="connsiteY2" fmla="*/ 131920 h 3535735"/>
              <a:gd name="connsiteX3" fmla="*/ 4097325 w 7085722"/>
              <a:gd name="connsiteY3" fmla="*/ 960630 h 3535735"/>
              <a:gd name="connsiteX4" fmla="*/ 7085722 w 7085722"/>
              <a:gd name="connsiteY4" fmla="*/ 2950077 h 3535735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351506 w 7085722"/>
              <a:gd name="connsiteY4" fmla="*/ 2057061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249670 w 7085722"/>
              <a:gd name="connsiteY4" fmla="*/ 2381167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332991 w 7085722"/>
              <a:gd name="connsiteY4" fmla="*/ 2167522 h 3547998"/>
              <a:gd name="connsiteX5" fmla="*/ 7085722 w 7085722"/>
              <a:gd name="connsiteY5" fmla="*/ 2962340 h 3547998"/>
              <a:gd name="connsiteX0" fmla="*/ 0 w 7085722"/>
              <a:gd name="connsiteY0" fmla="*/ 3447097 h 3462255"/>
              <a:gd name="connsiteX1" fmla="*/ 2076225 w 7085722"/>
              <a:gd name="connsiteY1" fmla="*/ 2704822 h 3462255"/>
              <a:gd name="connsiteX2" fmla="*/ 3001383 w 7085722"/>
              <a:gd name="connsiteY2" fmla="*/ 58440 h 3462255"/>
              <a:gd name="connsiteX3" fmla="*/ 3912166 w 7085722"/>
              <a:gd name="connsiteY3" fmla="*/ 989700 h 3462255"/>
              <a:gd name="connsiteX4" fmla="*/ 5332991 w 7085722"/>
              <a:gd name="connsiteY4" fmla="*/ 2081779 h 3462255"/>
              <a:gd name="connsiteX5" fmla="*/ 7085722 w 7085722"/>
              <a:gd name="connsiteY5" fmla="*/ 2876597 h 3462255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505009 h 3520167"/>
              <a:gd name="connsiteX1" fmla="*/ 2076225 w 7983743"/>
              <a:gd name="connsiteY1" fmla="*/ 2762734 h 3520167"/>
              <a:gd name="connsiteX2" fmla="*/ 3001383 w 7983743"/>
              <a:gd name="connsiteY2" fmla="*/ 116352 h 3520167"/>
              <a:gd name="connsiteX3" fmla="*/ 3819587 w 7983743"/>
              <a:gd name="connsiteY3" fmla="*/ 1081796 h 3520167"/>
              <a:gd name="connsiteX4" fmla="*/ 4944157 w 7983743"/>
              <a:gd name="connsiteY4" fmla="*/ 37426 h 3520167"/>
              <a:gd name="connsiteX5" fmla="*/ 7983743 w 7983743"/>
              <a:gd name="connsiteY5" fmla="*/ 3301979 h 3520167"/>
              <a:gd name="connsiteX0" fmla="*/ 0 w 7983743"/>
              <a:gd name="connsiteY0" fmla="*/ 3467583 h 3482741"/>
              <a:gd name="connsiteX1" fmla="*/ 2076225 w 7983743"/>
              <a:gd name="connsiteY1" fmla="*/ 2725308 h 3482741"/>
              <a:gd name="connsiteX2" fmla="*/ 3001383 w 7983743"/>
              <a:gd name="connsiteY2" fmla="*/ 78926 h 3482741"/>
              <a:gd name="connsiteX3" fmla="*/ 3819587 w 7983743"/>
              <a:gd name="connsiteY3" fmla="*/ 1044370 h 3482741"/>
              <a:gd name="connsiteX4" fmla="*/ 4944157 w 7983743"/>
              <a:gd name="connsiteY4" fmla="*/ 0 h 3482741"/>
              <a:gd name="connsiteX5" fmla="*/ 7983743 w 7983743"/>
              <a:gd name="connsiteY5" fmla="*/ 3264553 h 3482741"/>
              <a:gd name="connsiteX0" fmla="*/ 0 w 7983743"/>
              <a:gd name="connsiteY0" fmla="*/ 3467583 h 3482741"/>
              <a:gd name="connsiteX1" fmla="*/ 2076225 w 7983743"/>
              <a:gd name="connsiteY1" fmla="*/ 2725308 h 3482741"/>
              <a:gd name="connsiteX2" fmla="*/ 3001383 w 7983743"/>
              <a:gd name="connsiteY2" fmla="*/ 78926 h 3482741"/>
              <a:gd name="connsiteX3" fmla="*/ 3819587 w 7983743"/>
              <a:gd name="connsiteY3" fmla="*/ 1044370 h 3482741"/>
              <a:gd name="connsiteX4" fmla="*/ 4944157 w 7983743"/>
              <a:gd name="connsiteY4" fmla="*/ 0 h 3482741"/>
              <a:gd name="connsiteX5" fmla="*/ 7983743 w 7983743"/>
              <a:gd name="connsiteY5" fmla="*/ 3264553 h 3482741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4814546 w 7983743"/>
              <a:gd name="connsiteY4" fmla="*/ 10156 h 3458714"/>
              <a:gd name="connsiteX5" fmla="*/ 7983743 w 7983743"/>
              <a:gd name="connsiteY5" fmla="*/ 3240526 h 3458714"/>
              <a:gd name="connsiteX0" fmla="*/ 0 w 7983743"/>
              <a:gd name="connsiteY0" fmla="*/ 3441859 h 3457017"/>
              <a:gd name="connsiteX1" fmla="*/ 2076225 w 7983743"/>
              <a:gd name="connsiteY1" fmla="*/ 2699584 h 3457017"/>
              <a:gd name="connsiteX2" fmla="*/ 3001383 w 7983743"/>
              <a:gd name="connsiteY2" fmla="*/ 53202 h 3457017"/>
              <a:gd name="connsiteX3" fmla="*/ 3912166 w 7983743"/>
              <a:gd name="connsiteY3" fmla="*/ 1035737 h 3457017"/>
              <a:gd name="connsiteX4" fmla="*/ 4814546 w 7983743"/>
              <a:gd name="connsiteY4" fmla="*/ 8459 h 3457017"/>
              <a:gd name="connsiteX5" fmla="*/ 7983743 w 7983743"/>
              <a:gd name="connsiteY5" fmla="*/ 3238829 h 3457017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48558"/>
              <a:gd name="connsiteX1" fmla="*/ 2076225 w 7983743"/>
              <a:gd name="connsiteY1" fmla="*/ 2691125 h 3448558"/>
              <a:gd name="connsiteX2" fmla="*/ 3001383 w 7983743"/>
              <a:gd name="connsiteY2" fmla="*/ 44743 h 3448558"/>
              <a:gd name="connsiteX3" fmla="*/ 3912166 w 7983743"/>
              <a:gd name="connsiteY3" fmla="*/ 1027278 h 3448558"/>
              <a:gd name="connsiteX4" fmla="*/ 4814546 w 7983743"/>
              <a:gd name="connsiteY4" fmla="*/ 0 h 3448558"/>
              <a:gd name="connsiteX5" fmla="*/ 7983743 w 7983743"/>
              <a:gd name="connsiteY5" fmla="*/ 3230370 h 3448558"/>
              <a:gd name="connsiteX0" fmla="*/ 0 w 7983743"/>
              <a:gd name="connsiteY0" fmla="*/ 3433400 h 3452859"/>
              <a:gd name="connsiteX1" fmla="*/ 2076225 w 7983743"/>
              <a:gd name="connsiteY1" fmla="*/ 2691125 h 3452859"/>
              <a:gd name="connsiteX2" fmla="*/ 3130995 w 7983743"/>
              <a:gd name="connsiteY2" fmla="*/ 36197 h 3452859"/>
              <a:gd name="connsiteX3" fmla="*/ 3912166 w 7983743"/>
              <a:gd name="connsiteY3" fmla="*/ 1027278 h 3452859"/>
              <a:gd name="connsiteX4" fmla="*/ 4814546 w 7983743"/>
              <a:gd name="connsiteY4" fmla="*/ 0 h 3452859"/>
              <a:gd name="connsiteX5" fmla="*/ 7983743 w 7983743"/>
              <a:gd name="connsiteY5" fmla="*/ 3230370 h 3452859"/>
              <a:gd name="connsiteX0" fmla="*/ 0 w 7983743"/>
              <a:gd name="connsiteY0" fmla="*/ 3433400 h 3452992"/>
              <a:gd name="connsiteX1" fmla="*/ 2076225 w 7983743"/>
              <a:gd name="connsiteY1" fmla="*/ 2691125 h 3452992"/>
              <a:gd name="connsiteX2" fmla="*/ 3186543 w 7983743"/>
              <a:gd name="connsiteY2" fmla="*/ 19105 h 3452992"/>
              <a:gd name="connsiteX3" fmla="*/ 3912166 w 7983743"/>
              <a:gd name="connsiteY3" fmla="*/ 1027278 h 3452992"/>
              <a:gd name="connsiteX4" fmla="*/ 4814546 w 7983743"/>
              <a:gd name="connsiteY4" fmla="*/ 0 h 3452992"/>
              <a:gd name="connsiteX5" fmla="*/ 7983743 w 7983743"/>
              <a:gd name="connsiteY5" fmla="*/ 3230370 h 3452992"/>
              <a:gd name="connsiteX0" fmla="*/ 0 w 7983743"/>
              <a:gd name="connsiteY0" fmla="*/ 3449734 h 3465530"/>
              <a:gd name="connsiteX1" fmla="*/ 2196578 w 7983743"/>
              <a:gd name="connsiteY1" fmla="*/ 2613455 h 3465530"/>
              <a:gd name="connsiteX2" fmla="*/ 3186543 w 7983743"/>
              <a:gd name="connsiteY2" fmla="*/ 35439 h 3465530"/>
              <a:gd name="connsiteX3" fmla="*/ 3912166 w 7983743"/>
              <a:gd name="connsiteY3" fmla="*/ 1043612 h 3465530"/>
              <a:gd name="connsiteX4" fmla="*/ 4814546 w 7983743"/>
              <a:gd name="connsiteY4" fmla="*/ 16334 h 3465530"/>
              <a:gd name="connsiteX5" fmla="*/ 7983743 w 7983743"/>
              <a:gd name="connsiteY5" fmla="*/ 3246704 h 3465530"/>
              <a:gd name="connsiteX0" fmla="*/ 0 w 7983743"/>
              <a:gd name="connsiteY0" fmla="*/ 3449734 h 3469104"/>
              <a:gd name="connsiteX1" fmla="*/ 2196578 w 7983743"/>
              <a:gd name="connsiteY1" fmla="*/ 2613455 h 3469104"/>
              <a:gd name="connsiteX2" fmla="*/ 3186543 w 7983743"/>
              <a:gd name="connsiteY2" fmla="*/ 35439 h 3469104"/>
              <a:gd name="connsiteX3" fmla="*/ 3912166 w 7983743"/>
              <a:gd name="connsiteY3" fmla="*/ 1043612 h 3469104"/>
              <a:gd name="connsiteX4" fmla="*/ 4814546 w 7983743"/>
              <a:gd name="connsiteY4" fmla="*/ 16334 h 3469104"/>
              <a:gd name="connsiteX5" fmla="*/ 7983743 w 7983743"/>
              <a:gd name="connsiteY5" fmla="*/ 3246704 h 3469104"/>
              <a:gd name="connsiteX0" fmla="*/ 0 w 7983743"/>
              <a:gd name="connsiteY0" fmla="*/ 3465063 h 3537292"/>
              <a:gd name="connsiteX1" fmla="*/ 1872549 w 7983743"/>
              <a:gd name="connsiteY1" fmla="*/ 3004799 h 3537292"/>
              <a:gd name="connsiteX2" fmla="*/ 3186543 w 7983743"/>
              <a:gd name="connsiteY2" fmla="*/ 50768 h 3537292"/>
              <a:gd name="connsiteX3" fmla="*/ 3912166 w 7983743"/>
              <a:gd name="connsiteY3" fmla="*/ 1058941 h 3537292"/>
              <a:gd name="connsiteX4" fmla="*/ 4814546 w 7983743"/>
              <a:gd name="connsiteY4" fmla="*/ 31663 h 3537292"/>
              <a:gd name="connsiteX5" fmla="*/ 7983743 w 7983743"/>
              <a:gd name="connsiteY5" fmla="*/ 3262033 h 3537292"/>
              <a:gd name="connsiteX0" fmla="*/ 0 w 7983743"/>
              <a:gd name="connsiteY0" fmla="*/ 3465063 h 3495421"/>
              <a:gd name="connsiteX1" fmla="*/ 1872549 w 7983743"/>
              <a:gd name="connsiteY1" fmla="*/ 3004799 h 3495421"/>
              <a:gd name="connsiteX2" fmla="*/ 3186543 w 7983743"/>
              <a:gd name="connsiteY2" fmla="*/ 50768 h 3495421"/>
              <a:gd name="connsiteX3" fmla="*/ 3912166 w 7983743"/>
              <a:gd name="connsiteY3" fmla="*/ 1058941 h 3495421"/>
              <a:gd name="connsiteX4" fmla="*/ 4814546 w 7983743"/>
              <a:gd name="connsiteY4" fmla="*/ 31663 h 3495421"/>
              <a:gd name="connsiteX5" fmla="*/ 7983743 w 7983743"/>
              <a:gd name="connsiteY5" fmla="*/ 3262033 h 3495421"/>
              <a:gd name="connsiteX0" fmla="*/ 0 w 7983743"/>
              <a:gd name="connsiteY0" fmla="*/ 3465063 h 3482000"/>
              <a:gd name="connsiteX1" fmla="*/ 1872549 w 7983743"/>
              <a:gd name="connsiteY1" fmla="*/ 3004799 h 3482000"/>
              <a:gd name="connsiteX2" fmla="*/ 3186543 w 7983743"/>
              <a:gd name="connsiteY2" fmla="*/ 50768 h 3482000"/>
              <a:gd name="connsiteX3" fmla="*/ 3912166 w 7983743"/>
              <a:gd name="connsiteY3" fmla="*/ 1058941 h 3482000"/>
              <a:gd name="connsiteX4" fmla="*/ 4814546 w 7983743"/>
              <a:gd name="connsiteY4" fmla="*/ 31663 h 3482000"/>
              <a:gd name="connsiteX5" fmla="*/ 7983743 w 7983743"/>
              <a:gd name="connsiteY5" fmla="*/ 3262033 h 3482000"/>
              <a:gd name="connsiteX0" fmla="*/ 0 w 7983743"/>
              <a:gd name="connsiteY0" fmla="*/ 3465063 h 3483748"/>
              <a:gd name="connsiteX1" fmla="*/ 1872549 w 7983743"/>
              <a:gd name="connsiteY1" fmla="*/ 3004799 h 3483748"/>
              <a:gd name="connsiteX2" fmla="*/ 3186543 w 7983743"/>
              <a:gd name="connsiteY2" fmla="*/ 50768 h 3483748"/>
              <a:gd name="connsiteX3" fmla="*/ 3912166 w 7983743"/>
              <a:gd name="connsiteY3" fmla="*/ 1058941 h 3483748"/>
              <a:gd name="connsiteX4" fmla="*/ 4814546 w 7983743"/>
              <a:gd name="connsiteY4" fmla="*/ 31663 h 3483748"/>
              <a:gd name="connsiteX5" fmla="*/ 7983743 w 7983743"/>
              <a:gd name="connsiteY5" fmla="*/ 3262033 h 3483748"/>
              <a:gd name="connsiteX0" fmla="*/ 0 w 7983743"/>
              <a:gd name="connsiteY0" fmla="*/ 3461427 h 3476788"/>
              <a:gd name="connsiteX1" fmla="*/ 1798486 w 7983743"/>
              <a:gd name="connsiteY1" fmla="*/ 2915705 h 3476788"/>
              <a:gd name="connsiteX2" fmla="*/ 3186543 w 7983743"/>
              <a:gd name="connsiteY2" fmla="*/ 47132 h 3476788"/>
              <a:gd name="connsiteX3" fmla="*/ 3912166 w 7983743"/>
              <a:gd name="connsiteY3" fmla="*/ 1055305 h 3476788"/>
              <a:gd name="connsiteX4" fmla="*/ 4814546 w 7983743"/>
              <a:gd name="connsiteY4" fmla="*/ 28027 h 3476788"/>
              <a:gd name="connsiteX5" fmla="*/ 7983743 w 7983743"/>
              <a:gd name="connsiteY5" fmla="*/ 3258397 h 3476788"/>
              <a:gd name="connsiteX0" fmla="*/ 0 w 7983743"/>
              <a:gd name="connsiteY0" fmla="*/ 3461427 h 3474712"/>
              <a:gd name="connsiteX1" fmla="*/ 1798486 w 7983743"/>
              <a:gd name="connsiteY1" fmla="*/ 2915705 h 3474712"/>
              <a:gd name="connsiteX2" fmla="*/ 3186543 w 7983743"/>
              <a:gd name="connsiteY2" fmla="*/ 47132 h 3474712"/>
              <a:gd name="connsiteX3" fmla="*/ 3912166 w 7983743"/>
              <a:gd name="connsiteY3" fmla="*/ 1055305 h 3474712"/>
              <a:gd name="connsiteX4" fmla="*/ 4814546 w 7983743"/>
              <a:gd name="connsiteY4" fmla="*/ 28027 h 3474712"/>
              <a:gd name="connsiteX5" fmla="*/ 7983743 w 7983743"/>
              <a:gd name="connsiteY5" fmla="*/ 3258397 h 3474712"/>
              <a:gd name="connsiteX0" fmla="*/ 0 w 7983743"/>
              <a:gd name="connsiteY0" fmla="*/ 3461427 h 3499837"/>
              <a:gd name="connsiteX1" fmla="*/ 1798486 w 7983743"/>
              <a:gd name="connsiteY1" fmla="*/ 2915705 h 3499837"/>
              <a:gd name="connsiteX2" fmla="*/ 3186543 w 7983743"/>
              <a:gd name="connsiteY2" fmla="*/ 47132 h 3499837"/>
              <a:gd name="connsiteX3" fmla="*/ 3912166 w 7983743"/>
              <a:gd name="connsiteY3" fmla="*/ 1055305 h 3499837"/>
              <a:gd name="connsiteX4" fmla="*/ 4814546 w 7983743"/>
              <a:gd name="connsiteY4" fmla="*/ 28027 h 3499837"/>
              <a:gd name="connsiteX5" fmla="*/ 7983743 w 7983743"/>
              <a:gd name="connsiteY5" fmla="*/ 3258397 h 3499837"/>
              <a:gd name="connsiteX0" fmla="*/ 0 w 7983743"/>
              <a:gd name="connsiteY0" fmla="*/ 3461427 h 3499837"/>
              <a:gd name="connsiteX1" fmla="*/ 1798486 w 7983743"/>
              <a:gd name="connsiteY1" fmla="*/ 2915705 h 3499837"/>
              <a:gd name="connsiteX2" fmla="*/ 3186543 w 7983743"/>
              <a:gd name="connsiteY2" fmla="*/ 47132 h 3499837"/>
              <a:gd name="connsiteX3" fmla="*/ 3912166 w 7983743"/>
              <a:gd name="connsiteY3" fmla="*/ 1055305 h 3499837"/>
              <a:gd name="connsiteX4" fmla="*/ 4814546 w 7983743"/>
              <a:gd name="connsiteY4" fmla="*/ 28027 h 3499837"/>
              <a:gd name="connsiteX5" fmla="*/ 7983743 w 7983743"/>
              <a:gd name="connsiteY5" fmla="*/ 3258397 h 3499837"/>
              <a:gd name="connsiteX0" fmla="*/ 0 w 7983743"/>
              <a:gd name="connsiteY0" fmla="*/ 3502876 h 3539972"/>
              <a:gd name="connsiteX1" fmla="*/ 1798486 w 7983743"/>
              <a:gd name="connsiteY1" fmla="*/ 2957154 h 3539972"/>
              <a:gd name="connsiteX2" fmla="*/ 3084705 w 7983743"/>
              <a:gd name="connsiteY2" fmla="*/ 45852 h 3539972"/>
              <a:gd name="connsiteX3" fmla="*/ 3912166 w 7983743"/>
              <a:gd name="connsiteY3" fmla="*/ 1096754 h 3539972"/>
              <a:gd name="connsiteX4" fmla="*/ 4814546 w 7983743"/>
              <a:gd name="connsiteY4" fmla="*/ 69476 h 3539972"/>
              <a:gd name="connsiteX5" fmla="*/ 7983743 w 7983743"/>
              <a:gd name="connsiteY5" fmla="*/ 3299846 h 3539972"/>
              <a:gd name="connsiteX0" fmla="*/ 0 w 7983743"/>
              <a:gd name="connsiteY0" fmla="*/ 3614261 h 3651357"/>
              <a:gd name="connsiteX1" fmla="*/ 1798486 w 7983743"/>
              <a:gd name="connsiteY1" fmla="*/ 3068539 h 3651357"/>
              <a:gd name="connsiteX2" fmla="*/ 3084705 w 7983743"/>
              <a:gd name="connsiteY2" fmla="*/ 157237 h 3651357"/>
              <a:gd name="connsiteX3" fmla="*/ 3912166 w 7983743"/>
              <a:gd name="connsiteY3" fmla="*/ 1208139 h 3651357"/>
              <a:gd name="connsiteX4" fmla="*/ 4814546 w 7983743"/>
              <a:gd name="connsiteY4" fmla="*/ 180861 h 3651357"/>
              <a:gd name="connsiteX5" fmla="*/ 7983743 w 7983743"/>
              <a:gd name="connsiteY5" fmla="*/ 3411231 h 3651357"/>
              <a:gd name="connsiteX0" fmla="*/ 0 w 7983743"/>
              <a:gd name="connsiteY0" fmla="*/ 3488304 h 3501857"/>
              <a:gd name="connsiteX1" fmla="*/ 2205836 w 7983743"/>
              <a:gd name="connsiteY1" fmla="*/ 2566567 h 3501857"/>
              <a:gd name="connsiteX2" fmla="*/ 3084705 w 7983743"/>
              <a:gd name="connsiteY2" fmla="*/ 31280 h 3501857"/>
              <a:gd name="connsiteX3" fmla="*/ 3912166 w 7983743"/>
              <a:gd name="connsiteY3" fmla="*/ 1082182 h 3501857"/>
              <a:gd name="connsiteX4" fmla="*/ 4814546 w 7983743"/>
              <a:gd name="connsiteY4" fmla="*/ 54904 h 3501857"/>
              <a:gd name="connsiteX5" fmla="*/ 7983743 w 7983743"/>
              <a:gd name="connsiteY5" fmla="*/ 3285274 h 3501857"/>
              <a:gd name="connsiteX0" fmla="*/ 0 w 7983743"/>
              <a:gd name="connsiteY0" fmla="*/ 3505034 h 3518656"/>
              <a:gd name="connsiteX1" fmla="*/ 2205836 w 7983743"/>
              <a:gd name="connsiteY1" fmla="*/ 2583297 h 3518656"/>
              <a:gd name="connsiteX2" fmla="*/ 3149510 w 7983743"/>
              <a:gd name="connsiteY2" fmla="*/ 30919 h 3518656"/>
              <a:gd name="connsiteX3" fmla="*/ 3912166 w 7983743"/>
              <a:gd name="connsiteY3" fmla="*/ 1098912 h 3518656"/>
              <a:gd name="connsiteX4" fmla="*/ 4814546 w 7983743"/>
              <a:gd name="connsiteY4" fmla="*/ 71634 h 3518656"/>
              <a:gd name="connsiteX5" fmla="*/ 7983743 w 7983743"/>
              <a:gd name="connsiteY5" fmla="*/ 3302004 h 3518656"/>
              <a:gd name="connsiteX0" fmla="*/ 0 w 7983743"/>
              <a:gd name="connsiteY0" fmla="*/ 3474116 h 3487738"/>
              <a:gd name="connsiteX1" fmla="*/ 2205836 w 7983743"/>
              <a:gd name="connsiteY1" fmla="*/ 2552379 h 3487738"/>
              <a:gd name="connsiteX2" fmla="*/ 3149510 w 7983743"/>
              <a:gd name="connsiteY2" fmla="*/ 1 h 3487738"/>
              <a:gd name="connsiteX3" fmla="*/ 3912166 w 7983743"/>
              <a:gd name="connsiteY3" fmla="*/ 1067994 h 3487738"/>
              <a:gd name="connsiteX4" fmla="*/ 4814546 w 7983743"/>
              <a:gd name="connsiteY4" fmla="*/ 40716 h 3487738"/>
              <a:gd name="connsiteX5" fmla="*/ 7983743 w 7983743"/>
              <a:gd name="connsiteY5" fmla="*/ 3271086 h 3487738"/>
              <a:gd name="connsiteX0" fmla="*/ 0 w 7983743"/>
              <a:gd name="connsiteY0" fmla="*/ 3433400 h 3446819"/>
              <a:gd name="connsiteX1" fmla="*/ 2205836 w 7983743"/>
              <a:gd name="connsiteY1" fmla="*/ 2511663 h 3446819"/>
              <a:gd name="connsiteX2" fmla="*/ 3186542 w 7983743"/>
              <a:gd name="connsiteY2" fmla="*/ 10560 h 3446819"/>
              <a:gd name="connsiteX3" fmla="*/ 3912166 w 7983743"/>
              <a:gd name="connsiteY3" fmla="*/ 1027278 h 3446819"/>
              <a:gd name="connsiteX4" fmla="*/ 4814546 w 7983743"/>
              <a:gd name="connsiteY4" fmla="*/ 0 h 3446819"/>
              <a:gd name="connsiteX5" fmla="*/ 7983743 w 7983743"/>
              <a:gd name="connsiteY5" fmla="*/ 3230370 h 3446819"/>
              <a:gd name="connsiteX0" fmla="*/ 0 w 7983743"/>
              <a:gd name="connsiteY0" fmla="*/ 3433400 h 3447892"/>
              <a:gd name="connsiteX1" fmla="*/ 2205836 w 7983743"/>
              <a:gd name="connsiteY1" fmla="*/ 2511663 h 3447892"/>
              <a:gd name="connsiteX2" fmla="*/ 3186542 w 7983743"/>
              <a:gd name="connsiteY2" fmla="*/ 10560 h 3447892"/>
              <a:gd name="connsiteX3" fmla="*/ 3912166 w 7983743"/>
              <a:gd name="connsiteY3" fmla="*/ 1027278 h 3447892"/>
              <a:gd name="connsiteX4" fmla="*/ 4814546 w 7983743"/>
              <a:gd name="connsiteY4" fmla="*/ 0 h 3447892"/>
              <a:gd name="connsiteX5" fmla="*/ 7983743 w 7983743"/>
              <a:gd name="connsiteY5" fmla="*/ 3230370 h 3447892"/>
              <a:gd name="connsiteX0" fmla="*/ 0 w 7983743"/>
              <a:gd name="connsiteY0" fmla="*/ 3433400 h 3448366"/>
              <a:gd name="connsiteX1" fmla="*/ 2205836 w 7983743"/>
              <a:gd name="connsiteY1" fmla="*/ 2511663 h 3448366"/>
              <a:gd name="connsiteX2" fmla="*/ 3186542 w 7983743"/>
              <a:gd name="connsiteY2" fmla="*/ 10560 h 3448366"/>
              <a:gd name="connsiteX3" fmla="*/ 3912166 w 7983743"/>
              <a:gd name="connsiteY3" fmla="*/ 1027278 h 3448366"/>
              <a:gd name="connsiteX4" fmla="*/ 4814546 w 7983743"/>
              <a:gd name="connsiteY4" fmla="*/ 0 h 3448366"/>
              <a:gd name="connsiteX5" fmla="*/ 7983743 w 7983743"/>
              <a:gd name="connsiteY5" fmla="*/ 3230370 h 3448366"/>
              <a:gd name="connsiteX0" fmla="*/ 0 w 7983743"/>
              <a:gd name="connsiteY0" fmla="*/ 3455890 h 3470856"/>
              <a:gd name="connsiteX1" fmla="*/ 2205836 w 7983743"/>
              <a:gd name="connsiteY1" fmla="*/ 2534153 h 3470856"/>
              <a:gd name="connsiteX2" fmla="*/ 3186542 w 7983743"/>
              <a:gd name="connsiteY2" fmla="*/ 33050 h 3470856"/>
              <a:gd name="connsiteX3" fmla="*/ 4236194 w 7983743"/>
              <a:gd name="connsiteY3" fmla="*/ 1032676 h 3470856"/>
              <a:gd name="connsiteX4" fmla="*/ 4814546 w 7983743"/>
              <a:gd name="connsiteY4" fmla="*/ 22490 h 3470856"/>
              <a:gd name="connsiteX5" fmla="*/ 7983743 w 7983743"/>
              <a:gd name="connsiteY5" fmla="*/ 3252860 h 3470856"/>
              <a:gd name="connsiteX0" fmla="*/ 0 w 7983743"/>
              <a:gd name="connsiteY0" fmla="*/ 3489297 h 3502850"/>
              <a:gd name="connsiteX1" fmla="*/ 2205836 w 7983743"/>
              <a:gd name="connsiteY1" fmla="*/ 2567560 h 3502850"/>
              <a:gd name="connsiteX2" fmla="*/ 3103221 w 7983743"/>
              <a:gd name="connsiteY2" fmla="*/ 32274 h 3502850"/>
              <a:gd name="connsiteX3" fmla="*/ 4236194 w 7983743"/>
              <a:gd name="connsiteY3" fmla="*/ 1066083 h 3502850"/>
              <a:gd name="connsiteX4" fmla="*/ 4814546 w 7983743"/>
              <a:gd name="connsiteY4" fmla="*/ 55897 h 3502850"/>
              <a:gd name="connsiteX5" fmla="*/ 7983743 w 7983743"/>
              <a:gd name="connsiteY5" fmla="*/ 3286267 h 3502850"/>
              <a:gd name="connsiteX0" fmla="*/ 0 w 7983743"/>
              <a:gd name="connsiteY0" fmla="*/ 3433400 h 3446687"/>
              <a:gd name="connsiteX1" fmla="*/ 2205836 w 7983743"/>
              <a:gd name="connsiteY1" fmla="*/ 2511663 h 3446687"/>
              <a:gd name="connsiteX2" fmla="*/ 3103221 w 7983743"/>
              <a:gd name="connsiteY2" fmla="*/ 44743 h 3446687"/>
              <a:gd name="connsiteX3" fmla="*/ 4236194 w 7983743"/>
              <a:gd name="connsiteY3" fmla="*/ 1010186 h 3446687"/>
              <a:gd name="connsiteX4" fmla="*/ 4814546 w 7983743"/>
              <a:gd name="connsiteY4" fmla="*/ 0 h 3446687"/>
              <a:gd name="connsiteX5" fmla="*/ 7983743 w 7983743"/>
              <a:gd name="connsiteY5" fmla="*/ 3230370 h 3446687"/>
              <a:gd name="connsiteX0" fmla="*/ 0 w 7983743"/>
              <a:gd name="connsiteY0" fmla="*/ 3467583 h 3480870"/>
              <a:gd name="connsiteX1" fmla="*/ 2205836 w 7983743"/>
              <a:gd name="connsiteY1" fmla="*/ 2545846 h 3480870"/>
              <a:gd name="connsiteX2" fmla="*/ 3103221 w 7983743"/>
              <a:gd name="connsiteY2" fmla="*/ 78926 h 3480870"/>
              <a:gd name="connsiteX3" fmla="*/ 4236194 w 7983743"/>
              <a:gd name="connsiteY3" fmla="*/ 1044369 h 3480870"/>
              <a:gd name="connsiteX4" fmla="*/ 5147833 w 7983743"/>
              <a:gd name="connsiteY4" fmla="*/ 0 h 3480870"/>
              <a:gd name="connsiteX5" fmla="*/ 7983743 w 7983743"/>
              <a:gd name="connsiteY5" fmla="*/ 3264553 h 3480870"/>
              <a:gd name="connsiteX0" fmla="*/ 0 w 7983743"/>
              <a:gd name="connsiteY0" fmla="*/ 3471517 h 3484804"/>
              <a:gd name="connsiteX1" fmla="*/ 2205836 w 7983743"/>
              <a:gd name="connsiteY1" fmla="*/ 2549780 h 3484804"/>
              <a:gd name="connsiteX2" fmla="*/ 3103221 w 7983743"/>
              <a:gd name="connsiteY2" fmla="*/ 82860 h 3484804"/>
              <a:gd name="connsiteX3" fmla="*/ 4236194 w 7983743"/>
              <a:gd name="connsiteY3" fmla="*/ 1048303 h 3484804"/>
              <a:gd name="connsiteX4" fmla="*/ 5147833 w 7983743"/>
              <a:gd name="connsiteY4" fmla="*/ 3934 h 3484804"/>
              <a:gd name="connsiteX5" fmla="*/ 5883002 w 7983743"/>
              <a:gd name="connsiteY5" fmla="*/ 798004 h 3484804"/>
              <a:gd name="connsiteX6" fmla="*/ 7983743 w 7983743"/>
              <a:gd name="connsiteY6" fmla="*/ 3268487 h 3484804"/>
              <a:gd name="connsiteX0" fmla="*/ 0 w 7983743"/>
              <a:gd name="connsiteY0" fmla="*/ 3469339 h 3482626"/>
              <a:gd name="connsiteX1" fmla="*/ 2205836 w 7983743"/>
              <a:gd name="connsiteY1" fmla="*/ 2547602 h 3482626"/>
              <a:gd name="connsiteX2" fmla="*/ 3103221 w 7983743"/>
              <a:gd name="connsiteY2" fmla="*/ 80682 h 3482626"/>
              <a:gd name="connsiteX3" fmla="*/ 4236194 w 7983743"/>
              <a:gd name="connsiteY3" fmla="*/ 1046125 h 3482626"/>
              <a:gd name="connsiteX4" fmla="*/ 5147833 w 7983743"/>
              <a:gd name="connsiteY4" fmla="*/ 1756 h 3482626"/>
              <a:gd name="connsiteX5" fmla="*/ 6123709 w 7983743"/>
              <a:gd name="connsiteY5" fmla="*/ 1214570 h 3482626"/>
              <a:gd name="connsiteX6" fmla="*/ 7983743 w 7983743"/>
              <a:gd name="connsiteY6" fmla="*/ 3266309 h 3482626"/>
              <a:gd name="connsiteX0" fmla="*/ 0 w 7983743"/>
              <a:gd name="connsiteY0" fmla="*/ 3469564 h 3482851"/>
              <a:gd name="connsiteX1" fmla="*/ 2205836 w 7983743"/>
              <a:gd name="connsiteY1" fmla="*/ 2547827 h 3482851"/>
              <a:gd name="connsiteX2" fmla="*/ 3103221 w 7983743"/>
              <a:gd name="connsiteY2" fmla="*/ 80907 h 3482851"/>
              <a:gd name="connsiteX3" fmla="*/ 4236194 w 7983743"/>
              <a:gd name="connsiteY3" fmla="*/ 1046350 h 3482851"/>
              <a:gd name="connsiteX4" fmla="*/ 5147833 w 7983743"/>
              <a:gd name="connsiteY4" fmla="*/ 1981 h 3482851"/>
              <a:gd name="connsiteX5" fmla="*/ 6086678 w 7983743"/>
              <a:gd name="connsiteY5" fmla="*/ 1129337 h 3482851"/>
              <a:gd name="connsiteX6" fmla="*/ 7983743 w 7983743"/>
              <a:gd name="connsiteY6" fmla="*/ 3266534 h 3482851"/>
              <a:gd name="connsiteX0" fmla="*/ 0 w 7983743"/>
              <a:gd name="connsiteY0" fmla="*/ 3468687 h 3481974"/>
              <a:gd name="connsiteX1" fmla="*/ 2205836 w 7983743"/>
              <a:gd name="connsiteY1" fmla="*/ 2546950 h 3481974"/>
              <a:gd name="connsiteX2" fmla="*/ 3103221 w 7983743"/>
              <a:gd name="connsiteY2" fmla="*/ 80030 h 3481974"/>
              <a:gd name="connsiteX3" fmla="*/ 4236194 w 7983743"/>
              <a:gd name="connsiteY3" fmla="*/ 1045473 h 3481974"/>
              <a:gd name="connsiteX4" fmla="*/ 5147833 w 7983743"/>
              <a:gd name="connsiteY4" fmla="*/ 1104 h 3481974"/>
              <a:gd name="connsiteX5" fmla="*/ 6086678 w 7983743"/>
              <a:gd name="connsiteY5" fmla="*/ 1128460 h 3481974"/>
              <a:gd name="connsiteX6" fmla="*/ 7983743 w 7983743"/>
              <a:gd name="connsiteY6" fmla="*/ 3265657 h 3481974"/>
              <a:gd name="connsiteX0" fmla="*/ 0 w 7983743"/>
              <a:gd name="connsiteY0" fmla="*/ 3468687 h 3481974"/>
              <a:gd name="connsiteX1" fmla="*/ 2205836 w 7983743"/>
              <a:gd name="connsiteY1" fmla="*/ 2546950 h 3481974"/>
              <a:gd name="connsiteX2" fmla="*/ 3103221 w 7983743"/>
              <a:gd name="connsiteY2" fmla="*/ 80030 h 3481974"/>
              <a:gd name="connsiteX3" fmla="*/ 4236194 w 7983743"/>
              <a:gd name="connsiteY3" fmla="*/ 1045473 h 3481974"/>
              <a:gd name="connsiteX4" fmla="*/ 5147833 w 7983743"/>
              <a:gd name="connsiteY4" fmla="*/ 1104 h 3481974"/>
              <a:gd name="connsiteX5" fmla="*/ 6086678 w 7983743"/>
              <a:gd name="connsiteY5" fmla="*/ 1128460 h 3481974"/>
              <a:gd name="connsiteX6" fmla="*/ 7983743 w 7983743"/>
              <a:gd name="connsiteY6" fmla="*/ 3265657 h 3481974"/>
              <a:gd name="connsiteX0" fmla="*/ 0 w 7983743"/>
              <a:gd name="connsiteY0" fmla="*/ 3468745 h 3482032"/>
              <a:gd name="connsiteX1" fmla="*/ 2205836 w 7983743"/>
              <a:gd name="connsiteY1" fmla="*/ 2547008 h 3482032"/>
              <a:gd name="connsiteX2" fmla="*/ 3103221 w 7983743"/>
              <a:gd name="connsiteY2" fmla="*/ 80088 h 3482032"/>
              <a:gd name="connsiteX3" fmla="*/ 4236194 w 7983743"/>
              <a:gd name="connsiteY3" fmla="*/ 1045531 h 3482032"/>
              <a:gd name="connsiteX4" fmla="*/ 5147833 w 7983743"/>
              <a:gd name="connsiteY4" fmla="*/ 1162 h 3482032"/>
              <a:gd name="connsiteX5" fmla="*/ 6077421 w 7983743"/>
              <a:gd name="connsiteY5" fmla="*/ 1068698 h 3482032"/>
              <a:gd name="connsiteX6" fmla="*/ 7983743 w 7983743"/>
              <a:gd name="connsiteY6" fmla="*/ 3265715 h 3482032"/>
              <a:gd name="connsiteX0" fmla="*/ 0 w 7983743"/>
              <a:gd name="connsiteY0" fmla="*/ 3467583 h 3480870"/>
              <a:gd name="connsiteX1" fmla="*/ 2205836 w 7983743"/>
              <a:gd name="connsiteY1" fmla="*/ 2545846 h 3480870"/>
              <a:gd name="connsiteX2" fmla="*/ 3103221 w 7983743"/>
              <a:gd name="connsiteY2" fmla="*/ 78926 h 3480870"/>
              <a:gd name="connsiteX3" fmla="*/ 4236194 w 7983743"/>
              <a:gd name="connsiteY3" fmla="*/ 1044369 h 3480870"/>
              <a:gd name="connsiteX4" fmla="*/ 5147833 w 7983743"/>
              <a:gd name="connsiteY4" fmla="*/ 0 h 3480870"/>
              <a:gd name="connsiteX5" fmla="*/ 6077421 w 7983743"/>
              <a:gd name="connsiteY5" fmla="*/ 1067536 h 3480870"/>
              <a:gd name="connsiteX6" fmla="*/ 7983743 w 7983743"/>
              <a:gd name="connsiteY6" fmla="*/ 3264553 h 3480870"/>
              <a:gd name="connsiteX0" fmla="*/ 0 w 7983743"/>
              <a:gd name="connsiteY0" fmla="*/ 3467583 h 3480870"/>
              <a:gd name="connsiteX1" fmla="*/ 2205836 w 7983743"/>
              <a:gd name="connsiteY1" fmla="*/ 2545846 h 3480870"/>
              <a:gd name="connsiteX2" fmla="*/ 3103221 w 7983743"/>
              <a:gd name="connsiteY2" fmla="*/ 78926 h 3480870"/>
              <a:gd name="connsiteX3" fmla="*/ 4236194 w 7983743"/>
              <a:gd name="connsiteY3" fmla="*/ 1044369 h 3480870"/>
              <a:gd name="connsiteX4" fmla="*/ 5147833 w 7983743"/>
              <a:gd name="connsiteY4" fmla="*/ 0 h 3480870"/>
              <a:gd name="connsiteX5" fmla="*/ 6077421 w 7983743"/>
              <a:gd name="connsiteY5" fmla="*/ 1067536 h 3480870"/>
              <a:gd name="connsiteX6" fmla="*/ 7983743 w 7983743"/>
              <a:gd name="connsiteY6" fmla="*/ 3264553 h 3480870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236194 w 7983743"/>
              <a:gd name="connsiteY3" fmla="*/ 1018732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5008965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6077421 w 7983743"/>
              <a:gd name="connsiteY5" fmla="*/ 1041899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753394 w 7983743"/>
              <a:gd name="connsiteY5" fmla="*/ 1016261 h 3455233"/>
              <a:gd name="connsiteX6" fmla="*/ 7983743 w 7983743"/>
              <a:gd name="connsiteY6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753394 w 7983743"/>
              <a:gd name="connsiteY5" fmla="*/ 1016261 h 3455233"/>
              <a:gd name="connsiteX6" fmla="*/ 6327384 w 7983743"/>
              <a:gd name="connsiteY6" fmla="*/ 1264089 h 3455233"/>
              <a:gd name="connsiteX7" fmla="*/ 7983743 w 7983743"/>
              <a:gd name="connsiteY7" fmla="*/ 3238916 h 3455233"/>
              <a:gd name="connsiteX0" fmla="*/ 0 w 7983743"/>
              <a:gd name="connsiteY0" fmla="*/ 3482023 h 3495310"/>
              <a:gd name="connsiteX1" fmla="*/ 2205836 w 7983743"/>
              <a:gd name="connsiteY1" fmla="*/ 2560286 h 3495310"/>
              <a:gd name="connsiteX2" fmla="*/ 3103221 w 7983743"/>
              <a:gd name="connsiteY2" fmla="*/ 93366 h 3495310"/>
              <a:gd name="connsiteX3" fmla="*/ 4162131 w 7983743"/>
              <a:gd name="connsiteY3" fmla="*/ 1067355 h 3495310"/>
              <a:gd name="connsiteX4" fmla="*/ 4925644 w 7983743"/>
              <a:gd name="connsiteY4" fmla="*/ 40077 h 3495310"/>
              <a:gd name="connsiteX5" fmla="*/ 5753394 w 7983743"/>
              <a:gd name="connsiteY5" fmla="*/ 1056338 h 3495310"/>
              <a:gd name="connsiteX6" fmla="*/ 6410706 w 7983743"/>
              <a:gd name="connsiteY6" fmla="*/ 56480 h 3495310"/>
              <a:gd name="connsiteX7" fmla="*/ 7983743 w 7983743"/>
              <a:gd name="connsiteY7" fmla="*/ 3278993 h 3495310"/>
              <a:gd name="connsiteX0" fmla="*/ 0 w 7983743"/>
              <a:gd name="connsiteY0" fmla="*/ 3488873 h 3502160"/>
              <a:gd name="connsiteX1" fmla="*/ 2205836 w 7983743"/>
              <a:gd name="connsiteY1" fmla="*/ 2567136 h 3502160"/>
              <a:gd name="connsiteX2" fmla="*/ 3103221 w 7983743"/>
              <a:gd name="connsiteY2" fmla="*/ 100216 h 3502160"/>
              <a:gd name="connsiteX3" fmla="*/ 4162131 w 7983743"/>
              <a:gd name="connsiteY3" fmla="*/ 1074205 h 3502160"/>
              <a:gd name="connsiteX4" fmla="*/ 4925644 w 7983743"/>
              <a:gd name="connsiteY4" fmla="*/ 46927 h 3502160"/>
              <a:gd name="connsiteX5" fmla="*/ 5753394 w 7983743"/>
              <a:gd name="connsiteY5" fmla="*/ 1063188 h 3502160"/>
              <a:gd name="connsiteX6" fmla="*/ 6410706 w 7983743"/>
              <a:gd name="connsiteY6" fmla="*/ 63330 h 3502160"/>
              <a:gd name="connsiteX7" fmla="*/ 7983743 w 7983743"/>
              <a:gd name="connsiteY7" fmla="*/ 3285843 h 3502160"/>
              <a:gd name="connsiteX0" fmla="*/ 0 w 7983743"/>
              <a:gd name="connsiteY0" fmla="*/ 3488873 h 3502160"/>
              <a:gd name="connsiteX1" fmla="*/ 2205836 w 7983743"/>
              <a:gd name="connsiteY1" fmla="*/ 2567136 h 3502160"/>
              <a:gd name="connsiteX2" fmla="*/ 3103221 w 7983743"/>
              <a:gd name="connsiteY2" fmla="*/ 100216 h 3502160"/>
              <a:gd name="connsiteX3" fmla="*/ 4162131 w 7983743"/>
              <a:gd name="connsiteY3" fmla="*/ 1074205 h 3502160"/>
              <a:gd name="connsiteX4" fmla="*/ 4925644 w 7983743"/>
              <a:gd name="connsiteY4" fmla="*/ 46927 h 3502160"/>
              <a:gd name="connsiteX5" fmla="*/ 5614525 w 7983743"/>
              <a:gd name="connsiteY5" fmla="*/ 1063188 h 3502160"/>
              <a:gd name="connsiteX6" fmla="*/ 6410706 w 7983743"/>
              <a:gd name="connsiteY6" fmla="*/ 63330 h 3502160"/>
              <a:gd name="connsiteX7" fmla="*/ 7983743 w 7983743"/>
              <a:gd name="connsiteY7" fmla="*/ 3285843 h 3502160"/>
              <a:gd name="connsiteX0" fmla="*/ 0 w 7983743"/>
              <a:gd name="connsiteY0" fmla="*/ 3489207 h 3502494"/>
              <a:gd name="connsiteX1" fmla="*/ 2205836 w 7983743"/>
              <a:gd name="connsiteY1" fmla="*/ 2567470 h 3502494"/>
              <a:gd name="connsiteX2" fmla="*/ 3103221 w 7983743"/>
              <a:gd name="connsiteY2" fmla="*/ 100550 h 3502494"/>
              <a:gd name="connsiteX3" fmla="*/ 4162131 w 7983743"/>
              <a:gd name="connsiteY3" fmla="*/ 1074539 h 3502494"/>
              <a:gd name="connsiteX4" fmla="*/ 4925644 w 7983743"/>
              <a:gd name="connsiteY4" fmla="*/ 47261 h 3502494"/>
              <a:gd name="connsiteX5" fmla="*/ 5697848 w 7983743"/>
              <a:gd name="connsiteY5" fmla="*/ 1054977 h 3502494"/>
              <a:gd name="connsiteX6" fmla="*/ 6410706 w 7983743"/>
              <a:gd name="connsiteY6" fmla="*/ 63664 h 3502494"/>
              <a:gd name="connsiteX7" fmla="*/ 7983743 w 7983743"/>
              <a:gd name="connsiteY7" fmla="*/ 3286177 h 3502494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5233"/>
              <a:gd name="connsiteX1" fmla="*/ 2205836 w 7983743"/>
              <a:gd name="connsiteY1" fmla="*/ 2520209 h 3455233"/>
              <a:gd name="connsiteX2" fmla="*/ 3103221 w 7983743"/>
              <a:gd name="connsiteY2" fmla="*/ 53289 h 3455233"/>
              <a:gd name="connsiteX3" fmla="*/ 4162131 w 7983743"/>
              <a:gd name="connsiteY3" fmla="*/ 1027278 h 3455233"/>
              <a:gd name="connsiteX4" fmla="*/ 4925644 w 7983743"/>
              <a:gd name="connsiteY4" fmla="*/ 0 h 3455233"/>
              <a:gd name="connsiteX5" fmla="*/ 5697848 w 7983743"/>
              <a:gd name="connsiteY5" fmla="*/ 1007716 h 3455233"/>
              <a:gd name="connsiteX6" fmla="*/ 6410706 w 7983743"/>
              <a:gd name="connsiteY6" fmla="*/ 16403 h 3455233"/>
              <a:gd name="connsiteX7" fmla="*/ 7983743 w 7983743"/>
              <a:gd name="connsiteY7" fmla="*/ 3238916 h 3455233"/>
              <a:gd name="connsiteX0" fmla="*/ 0 w 7983743"/>
              <a:gd name="connsiteY0" fmla="*/ 3441946 h 3453020"/>
              <a:gd name="connsiteX1" fmla="*/ 1455942 w 7983743"/>
              <a:gd name="connsiteY1" fmla="*/ 2409114 h 3453020"/>
              <a:gd name="connsiteX2" fmla="*/ 3103221 w 7983743"/>
              <a:gd name="connsiteY2" fmla="*/ 53289 h 3453020"/>
              <a:gd name="connsiteX3" fmla="*/ 4162131 w 7983743"/>
              <a:gd name="connsiteY3" fmla="*/ 1027278 h 3453020"/>
              <a:gd name="connsiteX4" fmla="*/ 4925644 w 7983743"/>
              <a:gd name="connsiteY4" fmla="*/ 0 h 3453020"/>
              <a:gd name="connsiteX5" fmla="*/ 5697848 w 7983743"/>
              <a:gd name="connsiteY5" fmla="*/ 1007716 h 3453020"/>
              <a:gd name="connsiteX6" fmla="*/ 6410706 w 7983743"/>
              <a:gd name="connsiteY6" fmla="*/ 16403 h 3453020"/>
              <a:gd name="connsiteX7" fmla="*/ 7983743 w 7983743"/>
              <a:gd name="connsiteY7" fmla="*/ 3238916 h 3453020"/>
              <a:gd name="connsiteX0" fmla="*/ 0 w 7983743"/>
              <a:gd name="connsiteY0" fmla="*/ 3443134 h 3454278"/>
              <a:gd name="connsiteX1" fmla="*/ 1455942 w 7983743"/>
              <a:gd name="connsiteY1" fmla="*/ 2410302 h 3454278"/>
              <a:gd name="connsiteX2" fmla="*/ 2288521 w 7983743"/>
              <a:gd name="connsiteY2" fmla="*/ 28839 h 3454278"/>
              <a:gd name="connsiteX3" fmla="*/ 4162131 w 7983743"/>
              <a:gd name="connsiteY3" fmla="*/ 1028466 h 3454278"/>
              <a:gd name="connsiteX4" fmla="*/ 4925644 w 7983743"/>
              <a:gd name="connsiteY4" fmla="*/ 1188 h 3454278"/>
              <a:gd name="connsiteX5" fmla="*/ 5697848 w 7983743"/>
              <a:gd name="connsiteY5" fmla="*/ 1008904 h 3454278"/>
              <a:gd name="connsiteX6" fmla="*/ 6410706 w 7983743"/>
              <a:gd name="connsiteY6" fmla="*/ 17591 h 3454278"/>
              <a:gd name="connsiteX7" fmla="*/ 7983743 w 7983743"/>
              <a:gd name="connsiteY7" fmla="*/ 3240104 h 3454278"/>
              <a:gd name="connsiteX0" fmla="*/ 0 w 7983743"/>
              <a:gd name="connsiteY0" fmla="*/ 3459431 h 3487811"/>
              <a:gd name="connsiteX1" fmla="*/ 1261524 w 7983743"/>
              <a:gd name="connsiteY1" fmla="*/ 2845343 h 3487811"/>
              <a:gd name="connsiteX2" fmla="*/ 2288521 w 7983743"/>
              <a:gd name="connsiteY2" fmla="*/ 45136 h 3487811"/>
              <a:gd name="connsiteX3" fmla="*/ 4162131 w 7983743"/>
              <a:gd name="connsiteY3" fmla="*/ 1044763 h 3487811"/>
              <a:gd name="connsiteX4" fmla="*/ 4925644 w 7983743"/>
              <a:gd name="connsiteY4" fmla="*/ 17485 h 3487811"/>
              <a:gd name="connsiteX5" fmla="*/ 5697848 w 7983743"/>
              <a:gd name="connsiteY5" fmla="*/ 1025201 h 3487811"/>
              <a:gd name="connsiteX6" fmla="*/ 6410706 w 7983743"/>
              <a:gd name="connsiteY6" fmla="*/ 33888 h 3487811"/>
              <a:gd name="connsiteX7" fmla="*/ 7983743 w 7983743"/>
              <a:gd name="connsiteY7" fmla="*/ 3256401 h 3487811"/>
              <a:gd name="connsiteX0" fmla="*/ 0 w 7983743"/>
              <a:gd name="connsiteY0" fmla="*/ 3459431 h 3484428"/>
              <a:gd name="connsiteX1" fmla="*/ 1261524 w 7983743"/>
              <a:gd name="connsiteY1" fmla="*/ 2845343 h 3484428"/>
              <a:gd name="connsiteX2" fmla="*/ 2288521 w 7983743"/>
              <a:gd name="connsiteY2" fmla="*/ 45136 h 3484428"/>
              <a:gd name="connsiteX3" fmla="*/ 4162131 w 7983743"/>
              <a:gd name="connsiteY3" fmla="*/ 1044763 h 3484428"/>
              <a:gd name="connsiteX4" fmla="*/ 4925644 w 7983743"/>
              <a:gd name="connsiteY4" fmla="*/ 17485 h 3484428"/>
              <a:gd name="connsiteX5" fmla="*/ 5697848 w 7983743"/>
              <a:gd name="connsiteY5" fmla="*/ 1025201 h 3484428"/>
              <a:gd name="connsiteX6" fmla="*/ 6410706 w 7983743"/>
              <a:gd name="connsiteY6" fmla="*/ 33888 h 3484428"/>
              <a:gd name="connsiteX7" fmla="*/ 7983743 w 7983743"/>
              <a:gd name="connsiteY7" fmla="*/ 3256401 h 3484428"/>
              <a:gd name="connsiteX0" fmla="*/ 0 w 7983743"/>
              <a:gd name="connsiteY0" fmla="*/ 3459431 h 3481150"/>
              <a:gd name="connsiteX1" fmla="*/ 1261524 w 7983743"/>
              <a:gd name="connsiteY1" fmla="*/ 2845343 h 3481150"/>
              <a:gd name="connsiteX2" fmla="*/ 2288521 w 7983743"/>
              <a:gd name="connsiteY2" fmla="*/ 45136 h 3481150"/>
              <a:gd name="connsiteX3" fmla="*/ 4162131 w 7983743"/>
              <a:gd name="connsiteY3" fmla="*/ 1044763 h 3481150"/>
              <a:gd name="connsiteX4" fmla="*/ 4925644 w 7983743"/>
              <a:gd name="connsiteY4" fmla="*/ 17485 h 3481150"/>
              <a:gd name="connsiteX5" fmla="*/ 5697848 w 7983743"/>
              <a:gd name="connsiteY5" fmla="*/ 1025201 h 3481150"/>
              <a:gd name="connsiteX6" fmla="*/ 6410706 w 7983743"/>
              <a:gd name="connsiteY6" fmla="*/ 33888 h 3481150"/>
              <a:gd name="connsiteX7" fmla="*/ 7983743 w 7983743"/>
              <a:gd name="connsiteY7" fmla="*/ 3256401 h 3481150"/>
              <a:gd name="connsiteX0" fmla="*/ 0 w 7983743"/>
              <a:gd name="connsiteY0" fmla="*/ 3459431 h 3476430"/>
              <a:gd name="connsiteX1" fmla="*/ 1261524 w 7983743"/>
              <a:gd name="connsiteY1" fmla="*/ 2845343 h 3476430"/>
              <a:gd name="connsiteX2" fmla="*/ 2288521 w 7983743"/>
              <a:gd name="connsiteY2" fmla="*/ 45136 h 3476430"/>
              <a:gd name="connsiteX3" fmla="*/ 4162131 w 7983743"/>
              <a:gd name="connsiteY3" fmla="*/ 1044763 h 3476430"/>
              <a:gd name="connsiteX4" fmla="*/ 4925644 w 7983743"/>
              <a:gd name="connsiteY4" fmla="*/ 17485 h 3476430"/>
              <a:gd name="connsiteX5" fmla="*/ 5697848 w 7983743"/>
              <a:gd name="connsiteY5" fmla="*/ 1025201 h 3476430"/>
              <a:gd name="connsiteX6" fmla="*/ 6410706 w 7983743"/>
              <a:gd name="connsiteY6" fmla="*/ 33888 h 3476430"/>
              <a:gd name="connsiteX7" fmla="*/ 7983743 w 7983743"/>
              <a:gd name="connsiteY7" fmla="*/ 3256401 h 3476430"/>
              <a:gd name="connsiteX0" fmla="*/ 0 w 7983743"/>
              <a:gd name="connsiteY0" fmla="*/ 3459431 h 3477428"/>
              <a:gd name="connsiteX1" fmla="*/ 1261524 w 7983743"/>
              <a:gd name="connsiteY1" fmla="*/ 2845343 h 3477428"/>
              <a:gd name="connsiteX2" fmla="*/ 2288521 w 7983743"/>
              <a:gd name="connsiteY2" fmla="*/ 45136 h 3477428"/>
              <a:gd name="connsiteX3" fmla="*/ 4162131 w 7983743"/>
              <a:gd name="connsiteY3" fmla="*/ 1044763 h 3477428"/>
              <a:gd name="connsiteX4" fmla="*/ 4925644 w 7983743"/>
              <a:gd name="connsiteY4" fmla="*/ 17485 h 3477428"/>
              <a:gd name="connsiteX5" fmla="*/ 5697848 w 7983743"/>
              <a:gd name="connsiteY5" fmla="*/ 1025201 h 3477428"/>
              <a:gd name="connsiteX6" fmla="*/ 6410706 w 7983743"/>
              <a:gd name="connsiteY6" fmla="*/ 33888 h 3477428"/>
              <a:gd name="connsiteX7" fmla="*/ 7983743 w 7983743"/>
              <a:gd name="connsiteY7" fmla="*/ 3256401 h 3477428"/>
              <a:gd name="connsiteX0" fmla="*/ 0 w 7983743"/>
              <a:gd name="connsiteY0" fmla="*/ 3459431 h 3485702"/>
              <a:gd name="connsiteX1" fmla="*/ 1261524 w 7983743"/>
              <a:gd name="connsiteY1" fmla="*/ 2845343 h 3485702"/>
              <a:gd name="connsiteX2" fmla="*/ 2288521 w 7983743"/>
              <a:gd name="connsiteY2" fmla="*/ 45136 h 3485702"/>
              <a:gd name="connsiteX3" fmla="*/ 4162131 w 7983743"/>
              <a:gd name="connsiteY3" fmla="*/ 1044763 h 3485702"/>
              <a:gd name="connsiteX4" fmla="*/ 4925644 w 7983743"/>
              <a:gd name="connsiteY4" fmla="*/ 17485 h 3485702"/>
              <a:gd name="connsiteX5" fmla="*/ 5697848 w 7983743"/>
              <a:gd name="connsiteY5" fmla="*/ 1025201 h 3485702"/>
              <a:gd name="connsiteX6" fmla="*/ 6410706 w 7983743"/>
              <a:gd name="connsiteY6" fmla="*/ 33888 h 3485702"/>
              <a:gd name="connsiteX7" fmla="*/ 7983743 w 7983743"/>
              <a:gd name="connsiteY7" fmla="*/ 3256401 h 3485702"/>
              <a:gd name="connsiteX0" fmla="*/ 0 w 7983743"/>
              <a:gd name="connsiteY0" fmla="*/ 3459431 h 3481150"/>
              <a:gd name="connsiteX1" fmla="*/ 1261524 w 7983743"/>
              <a:gd name="connsiteY1" fmla="*/ 2845343 h 3481150"/>
              <a:gd name="connsiteX2" fmla="*/ 2288521 w 7983743"/>
              <a:gd name="connsiteY2" fmla="*/ 45136 h 3481150"/>
              <a:gd name="connsiteX3" fmla="*/ 4162131 w 7983743"/>
              <a:gd name="connsiteY3" fmla="*/ 1044763 h 3481150"/>
              <a:gd name="connsiteX4" fmla="*/ 4925644 w 7983743"/>
              <a:gd name="connsiteY4" fmla="*/ 17485 h 3481150"/>
              <a:gd name="connsiteX5" fmla="*/ 5697848 w 7983743"/>
              <a:gd name="connsiteY5" fmla="*/ 1025201 h 3481150"/>
              <a:gd name="connsiteX6" fmla="*/ 6410706 w 7983743"/>
              <a:gd name="connsiteY6" fmla="*/ 33888 h 3481150"/>
              <a:gd name="connsiteX7" fmla="*/ 7983743 w 7983743"/>
              <a:gd name="connsiteY7" fmla="*/ 3256401 h 3481150"/>
              <a:gd name="connsiteX0" fmla="*/ 0 w 7983743"/>
              <a:gd name="connsiteY0" fmla="*/ 3459431 h 3478537"/>
              <a:gd name="connsiteX1" fmla="*/ 1261524 w 7983743"/>
              <a:gd name="connsiteY1" fmla="*/ 2845343 h 3478537"/>
              <a:gd name="connsiteX2" fmla="*/ 2288521 w 7983743"/>
              <a:gd name="connsiteY2" fmla="*/ 45136 h 3478537"/>
              <a:gd name="connsiteX3" fmla="*/ 4162131 w 7983743"/>
              <a:gd name="connsiteY3" fmla="*/ 1044763 h 3478537"/>
              <a:gd name="connsiteX4" fmla="*/ 4925644 w 7983743"/>
              <a:gd name="connsiteY4" fmla="*/ 17485 h 3478537"/>
              <a:gd name="connsiteX5" fmla="*/ 5697848 w 7983743"/>
              <a:gd name="connsiteY5" fmla="*/ 1025201 h 3478537"/>
              <a:gd name="connsiteX6" fmla="*/ 6410706 w 7983743"/>
              <a:gd name="connsiteY6" fmla="*/ 33888 h 3478537"/>
              <a:gd name="connsiteX7" fmla="*/ 7983743 w 7983743"/>
              <a:gd name="connsiteY7" fmla="*/ 3256401 h 3478537"/>
              <a:gd name="connsiteX0" fmla="*/ 0 w 7983743"/>
              <a:gd name="connsiteY0" fmla="*/ 3459431 h 3477428"/>
              <a:gd name="connsiteX1" fmla="*/ 1261524 w 7983743"/>
              <a:gd name="connsiteY1" fmla="*/ 2845343 h 3477428"/>
              <a:gd name="connsiteX2" fmla="*/ 2288521 w 7983743"/>
              <a:gd name="connsiteY2" fmla="*/ 45136 h 3477428"/>
              <a:gd name="connsiteX3" fmla="*/ 4162131 w 7983743"/>
              <a:gd name="connsiteY3" fmla="*/ 1044763 h 3477428"/>
              <a:gd name="connsiteX4" fmla="*/ 4925644 w 7983743"/>
              <a:gd name="connsiteY4" fmla="*/ 17485 h 3477428"/>
              <a:gd name="connsiteX5" fmla="*/ 5697848 w 7983743"/>
              <a:gd name="connsiteY5" fmla="*/ 1025201 h 3477428"/>
              <a:gd name="connsiteX6" fmla="*/ 6410706 w 7983743"/>
              <a:gd name="connsiteY6" fmla="*/ 33888 h 3477428"/>
              <a:gd name="connsiteX7" fmla="*/ 7983743 w 7983743"/>
              <a:gd name="connsiteY7" fmla="*/ 3256401 h 3477428"/>
              <a:gd name="connsiteX0" fmla="*/ 0 w 7983743"/>
              <a:gd name="connsiteY0" fmla="*/ 3459431 h 3479771"/>
              <a:gd name="connsiteX1" fmla="*/ 1261524 w 7983743"/>
              <a:gd name="connsiteY1" fmla="*/ 2845343 h 3479771"/>
              <a:gd name="connsiteX2" fmla="*/ 2288521 w 7983743"/>
              <a:gd name="connsiteY2" fmla="*/ 45136 h 3479771"/>
              <a:gd name="connsiteX3" fmla="*/ 4162131 w 7983743"/>
              <a:gd name="connsiteY3" fmla="*/ 1044763 h 3479771"/>
              <a:gd name="connsiteX4" fmla="*/ 4925644 w 7983743"/>
              <a:gd name="connsiteY4" fmla="*/ 17485 h 3479771"/>
              <a:gd name="connsiteX5" fmla="*/ 5697848 w 7983743"/>
              <a:gd name="connsiteY5" fmla="*/ 1025201 h 3479771"/>
              <a:gd name="connsiteX6" fmla="*/ 6410706 w 7983743"/>
              <a:gd name="connsiteY6" fmla="*/ 33888 h 3479771"/>
              <a:gd name="connsiteX7" fmla="*/ 7983743 w 7983743"/>
              <a:gd name="connsiteY7" fmla="*/ 3256401 h 3479771"/>
              <a:gd name="connsiteX0" fmla="*/ 0 w 7983743"/>
              <a:gd name="connsiteY0" fmla="*/ 3459431 h 3477785"/>
              <a:gd name="connsiteX1" fmla="*/ 1261524 w 7983743"/>
              <a:gd name="connsiteY1" fmla="*/ 2845343 h 3477785"/>
              <a:gd name="connsiteX2" fmla="*/ 2288521 w 7983743"/>
              <a:gd name="connsiteY2" fmla="*/ 45136 h 3477785"/>
              <a:gd name="connsiteX3" fmla="*/ 4162131 w 7983743"/>
              <a:gd name="connsiteY3" fmla="*/ 1044763 h 3477785"/>
              <a:gd name="connsiteX4" fmla="*/ 4925644 w 7983743"/>
              <a:gd name="connsiteY4" fmla="*/ 17485 h 3477785"/>
              <a:gd name="connsiteX5" fmla="*/ 5697848 w 7983743"/>
              <a:gd name="connsiteY5" fmla="*/ 1025201 h 3477785"/>
              <a:gd name="connsiteX6" fmla="*/ 6410706 w 7983743"/>
              <a:gd name="connsiteY6" fmla="*/ 33888 h 3477785"/>
              <a:gd name="connsiteX7" fmla="*/ 7983743 w 7983743"/>
              <a:gd name="connsiteY7" fmla="*/ 3256401 h 3477785"/>
              <a:gd name="connsiteX0" fmla="*/ 0 w 7983743"/>
              <a:gd name="connsiteY0" fmla="*/ 3459431 h 3477785"/>
              <a:gd name="connsiteX1" fmla="*/ 1261524 w 7983743"/>
              <a:gd name="connsiteY1" fmla="*/ 2845343 h 3477785"/>
              <a:gd name="connsiteX2" fmla="*/ 2288521 w 7983743"/>
              <a:gd name="connsiteY2" fmla="*/ 45136 h 3477785"/>
              <a:gd name="connsiteX3" fmla="*/ 4162131 w 7983743"/>
              <a:gd name="connsiteY3" fmla="*/ 1044763 h 3477785"/>
              <a:gd name="connsiteX4" fmla="*/ 4925644 w 7983743"/>
              <a:gd name="connsiteY4" fmla="*/ 17485 h 3477785"/>
              <a:gd name="connsiteX5" fmla="*/ 5697848 w 7983743"/>
              <a:gd name="connsiteY5" fmla="*/ 1025201 h 3477785"/>
              <a:gd name="connsiteX6" fmla="*/ 6410706 w 7983743"/>
              <a:gd name="connsiteY6" fmla="*/ 33888 h 3477785"/>
              <a:gd name="connsiteX7" fmla="*/ 7983743 w 7983743"/>
              <a:gd name="connsiteY7" fmla="*/ 3256401 h 3477785"/>
              <a:gd name="connsiteX0" fmla="*/ 0 w 7983743"/>
              <a:gd name="connsiteY0" fmla="*/ 3459431 h 3479345"/>
              <a:gd name="connsiteX1" fmla="*/ 1261524 w 7983743"/>
              <a:gd name="connsiteY1" fmla="*/ 2845343 h 3479345"/>
              <a:gd name="connsiteX2" fmla="*/ 2288521 w 7983743"/>
              <a:gd name="connsiteY2" fmla="*/ 45136 h 3479345"/>
              <a:gd name="connsiteX3" fmla="*/ 4162131 w 7983743"/>
              <a:gd name="connsiteY3" fmla="*/ 1044763 h 3479345"/>
              <a:gd name="connsiteX4" fmla="*/ 4925644 w 7983743"/>
              <a:gd name="connsiteY4" fmla="*/ 17485 h 3479345"/>
              <a:gd name="connsiteX5" fmla="*/ 5697848 w 7983743"/>
              <a:gd name="connsiteY5" fmla="*/ 1025201 h 3479345"/>
              <a:gd name="connsiteX6" fmla="*/ 6410706 w 7983743"/>
              <a:gd name="connsiteY6" fmla="*/ 33888 h 3479345"/>
              <a:gd name="connsiteX7" fmla="*/ 7983743 w 7983743"/>
              <a:gd name="connsiteY7" fmla="*/ 3256401 h 3479345"/>
              <a:gd name="connsiteX0" fmla="*/ 0 w 7983743"/>
              <a:gd name="connsiteY0" fmla="*/ 3459431 h 3479345"/>
              <a:gd name="connsiteX1" fmla="*/ 1261524 w 7983743"/>
              <a:gd name="connsiteY1" fmla="*/ 2845343 h 3479345"/>
              <a:gd name="connsiteX2" fmla="*/ 2288521 w 7983743"/>
              <a:gd name="connsiteY2" fmla="*/ 45136 h 3479345"/>
              <a:gd name="connsiteX3" fmla="*/ 4162131 w 7983743"/>
              <a:gd name="connsiteY3" fmla="*/ 1044763 h 3479345"/>
              <a:gd name="connsiteX4" fmla="*/ 4925644 w 7983743"/>
              <a:gd name="connsiteY4" fmla="*/ 17485 h 3479345"/>
              <a:gd name="connsiteX5" fmla="*/ 5697848 w 7983743"/>
              <a:gd name="connsiteY5" fmla="*/ 1025201 h 3479345"/>
              <a:gd name="connsiteX6" fmla="*/ 6410706 w 7983743"/>
              <a:gd name="connsiteY6" fmla="*/ 33888 h 3479345"/>
              <a:gd name="connsiteX7" fmla="*/ 7983743 w 7983743"/>
              <a:gd name="connsiteY7" fmla="*/ 3256401 h 3479345"/>
              <a:gd name="connsiteX0" fmla="*/ 0 w 7983743"/>
              <a:gd name="connsiteY0" fmla="*/ 3459431 h 3478933"/>
              <a:gd name="connsiteX1" fmla="*/ 1261524 w 7983743"/>
              <a:gd name="connsiteY1" fmla="*/ 2845343 h 3478933"/>
              <a:gd name="connsiteX2" fmla="*/ 2288521 w 7983743"/>
              <a:gd name="connsiteY2" fmla="*/ 45136 h 3478933"/>
              <a:gd name="connsiteX3" fmla="*/ 4162131 w 7983743"/>
              <a:gd name="connsiteY3" fmla="*/ 1044763 h 3478933"/>
              <a:gd name="connsiteX4" fmla="*/ 4925644 w 7983743"/>
              <a:gd name="connsiteY4" fmla="*/ 17485 h 3478933"/>
              <a:gd name="connsiteX5" fmla="*/ 5697848 w 7983743"/>
              <a:gd name="connsiteY5" fmla="*/ 1025201 h 3478933"/>
              <a:gd name="connsiteX6" fmla="*/ 6410706 w 7983743"/>
              <a:gd name="connsiteY6" fmla="*/ 33888 h 3478933"/>
              <a:gd name="connsiteX7" fmla="*/ 7983743 w 7983743"/>
              <a:gd name="connsiteY7" fmla="*/ 3256401 h 3478933"/>
              <a:gd name="connsiteX0" fmla="*/ 0 w 7983743"/>
              <a:gd name="connsiteY0" fmla="*/ 3459431 h 3459431"/>
              <a:gd name="connsiteX1" fmla="*/ 1261524 w 7983743"/>
              <a:gd name="connsiteY1" fmla="*/ 2845343 h 3459431"/>
              <a:gd name="connsiteX2" fmla="*/ 2288521 w 7983743"/>
              <a:gd name="connsiteY2" fmla="*/ 45136 h 3459431"/>
              <a:gd name="connsiteX3" fmla="*/ 4162131 w 7983743"/>
              <a:gd name="connsiteY3" fmla="*/ 1044763 h 3459431"/>
              <a:gd name="connsiteX4" fmla="*/ 4925644 w 7983743"/>
              <a:gd name="connsiteY4" fmla="*/ 17485 h 3459431"/>
              <a:gd name="connsiteX5" fmla="*/ 5697848 w 7983743"/>
              <a:gd name="connsiteY5" fmla="*/ 1025201 h 3459431"/>
              <a:gd name="connsiteX6" fmla="*/ 6410706 w 7983743"/>
              <a:gd name="connsiteY6" fmla="*/ 33888 h 3459431"/>
              <a:gd name="connsiteX7" fmla="*/ 7983743 w 7983743"/>
              <a:gd name="connsiteY7" fmla="*/ 3256401 h 3459431"/>
              <a:gd name="connsiteX0" fmla="*/ 0 w 8039290"/>
              <a:gd name="connsiteY0" fmla="*/ 3510706 h 3510706"/>
              <a:gd name="connsiteX1" fmla="*/ 1317071 w 8039290"/>
              <a:gd name="connsiteY1" fmla="*/ 2845343 h 3510706"/>
              <a:gd name="connsiteX2" fmla="*/ 2344068 w 8039290"/>
              <a:gd name="connsiteY2" fmla="*/ 45136 h 3510706"/>
              <a:gd name="connsiteX3" fmla="*/ 4217678 w 8039290"/>
              <a:gd name="connsiteY3" fmla="*/ 1044763 h 3510706"/>
              <a:gd name="connsiteX4" fmla="*/ 4981191 w 8039290"/>
              <a:gd name="connsiteY4" fmla="*/ 17485 h 3510706"/>
              <a:gd name="connsiteX5" fmla="*/ 5753395 w 8039290"/>
              <a:gd name="connsiteY5" fmla="*/ 1025201 h 3510706"/>
              <a:gd name="connsiteX6" fmla="*/ 6466253 w 8039290"/>
              <a:gd name="connsiteY6" fmla="*/ 33888 h 3510706"/>
              <a:gd name="connsiteX7" fmla="*/ 8039290 w 8039290"/>
              <a:gd name="connsiteY7" fmla="*/ 3256401 h 3510706"/>
              <a:gd name="connsiteX0" fmla="*/ 0 w 8039290"/>
              <a:gd name="connsiteY0" fmla="*/ 3511421 h 3511421"/>
              <a:gd name="connsiteX1" fmla="*/ 1344846 w 8039290"/>
              <a:gd name="connsiteY1" fmla="*/ 2863150 h 3511421"/>
              <a:gd name="connsiteX2" fmla="*/ 2344068 w 8039290"/>
              <a:gd name="connsiteY2" fmla="*/ 45851 h 3511421"/>
              <a:gd name="connsiteX3" fmla="*/ 4217678 w 8039290"/>
              <a:gd name="connsiteY3" fmla="*/ 1045478 h 3511421"/>
              <a:gd name="connsiteX4" fmla="*/ 4981191 w 8039290"/>
              <a:gd name="connsiteY4" fmla="*/ 18200 h 3511421"/>
              <a:gd name="connsiteX5" fmla="*/ 5753395 w 8039290"/>
              <a:gd name="connsiteY5" fmla="*/ 1025916 h 3511421"/>
              <a:gd name="connsiteX6" fmla="*/ 6466253 w 8039290"/>
              <a:gd name="connsiteY6" fmla="*/ 34603 h 3511421"/>
              <a:gd name="connsiteX7" fmla="*/ 8039290 w 8039290"/>
              <a:gd name="connsiteY7" fmla="*/ 3257116 h 3511421"/>
              <a:gd name="connsiteX0" fmla="*/ 0 w 8039290"/>
              <a:gd name="connsiteY0" fmla="*/ 3511421 h 3511421"/>
              <a:gd name="connsiteX1" fmla="*/ 1307814 w 8039290"/>
              <a:gd name="connsiteY1" fmla="*/ 2863150 h 3511421"/>
              <a:gd name="connsiteX2" fmla="*/ 2344068 w 8039290"/>
              <a:gd name="connsiteY2" fmla="*/ 45851 h 3511421"/>
              <a:gd name="connsiteX3" fmla="*/ 4217678 w 8039290"/>
              <a:gd name="connsiteY3" fmla="*/ 1045478 h 3511421"/>
              <a:gd name="connsiteX4" fmla="*/ 4981191 w 8039290"/>
              <a:gd name="connsiteY4" fmla="*/ 18200 h 3511421"/>
              <a:gd name="connsiteX5" fmla="*/ 5753395 w 8039290"/>
              <a:gd name="connsiteY5" fmla="*/ 1025916 h 3511421"/>
              <a:gd name="connsiteX6" fmla="*/ 6466253 w 8039290"/>
              <a:gd name="connsiteY6" fmla="*/ 34603 h 3511421"/>
              <a:gd name="connsiteX7" fmla="*/ 8039290 w 8039290"/>
              <a:gd name="connsiteY7" fmla="*/ 3257116 h 3511421"/>
              <a:gd name="connsiteX0" fmla="*/ 0 w 8039290"/>
              <a:gd name="connsiteY0" fmla="*/ 3511421 h 3511421"/>
              <a:gd name="connsiteX1" fmla="*/ 1307814 w 8039290"/>
              <a:gd name="connsiteY1" fmla="*/ 2863150 h 3511421"/>
              <a:gd name="connsiteX2" fmla="*/ 2344068 w 8039290"/>
              <a:gd name="connsiteY2" fmla="*/ 45851 h 3511421"/>
              <a:gd name="connsiteX3" fmla="*/ 4217678 w 8039290"/>
              <a:gd name="connsiteY3" fmla="*/ 1045478 h 3511421"/>
              <a:gd name="connsiteX4" fmla="*/ 4981191 w 8039290"/>
              <a:gd name="connsiteY4" fmla="*/ 18200 h 3511421"/>
              <a:gd name="connsiteX5" fmla="*/ 5753395 w 8039290"/>
              <a:gd name="connsiteY5" fmla="*/ 1025916 h 3511421"/>
              <a:gd name="connsiteX6" fmla="*/ 6466253 w 8039290"/>
              <a:gd name="connsiteY6" fmla="*/ 34603 h 3511421"/>
              <a:gd name="connsiteX7" fmla="*/ 8039290 w 8039290"/>
              <a:gd name="connsiteY7" fmla="*/ 3257116 h 3511421"/>
              <a:gd name="connsiteX0" fmla="*/ 0 w 8039290"/>
              <a:gd name="connsiteY0" fmla="*/ 3507259 h 3507259"/>
              <a:gd name="connsiteX1" fmla="*/ 1307814 w 8039290"/>
              <a:gd name="connsiteY1" fmla="*/ 2858988 h 3507259"/>
              <a:gd name="connsiteX2" fmla="*/ 2344068 w 8039290"/>
              <a:gd name="connsiteY2" fmla="*/ 41689 h 3507259"/>
              <a:gd name="connsiteX3" fmla="*/ 3310400 w 8039290"/>
              <a:gd name="connsiteY3" fmla="*/ 1101136 h 3507259"/>
              <a:gd name="connsiteX4" fmla="*/ 4981191 w 8039290"/>
              <a:gd name="connsiteY4" fmla="*/ 14038 h 3507259"/>
              <a:gd name="connsiteX5" fmla="*/ 5753395 w 8039290"/>
              <a:gd name="connsiteY5" fmla="*/ 1021754 h 3507259"/>
              <a:gd name="connsiteX6" fmla="*/ 6466253 w 8039290"/>
              <a:gd name="connsiteY6" fmla="*/ 30441 h 3507259"/>
              <a:gd name="connsiteX7" fmla="*/ 8039290 w 8039290"/>
              <a:gd name="connsiteY7" fmla="*/ 3252954 h 3507259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44068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81101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53326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53326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53326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53326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93221 h 3493221"/>
              <a:gd name="connsiteX1" fmla="*/ 1307814 w 8039290"/>
              <a:gd name="connsiteY1" fmla="*/ 2844950 h 3493221"/>
              <a:gd name="connsiteX2" fmla="*/ 2353326 w 8039290"/>
              <a:gd name="connsiteY2" fmla="*/ 27651 h 3493221"/>
              <a:gd name="connsiteX3" fmla="*/ 3310400 w 8039290"/>
              <a:gd name="connsiteY3" fmla="*/ 1087098 h 3493221"/>
              <a:gd name="connsiteX4" fmla="*/ 4981191 w 8039290"/>
              <a:gd name="connsiteY4" fmla="*/ 0 h 3493221"/>
              <a:gd name="connsiteX5" fmla="*/ 5753395 w 8039290"/>
              <a:gd name="connsiteY5" fmla="*/ 1007716 h 3493221"/>
              <a:gd name="connsiteX6" fmla="*/ 6466253 w 8039290"/>
              <a:gd name="connsiteY6" fmla="*/ 16403 h 3493221"/>
              <a:gd name="connsiteX7" fmla="*/ 8039290 w 8039290"/>
              <a:gd name="connsiteY7" fmla="*/ 3238916 h 3493221"/>
              <a:gd name="connsiteX0" fmla="*/ 0 w 8039290"/>
              <a:gd name="connsiteY0" fmla="*/ 3476916 h 3476916"/>
              <a:gd name="connsiteX1" fmla="*/ 1307814 w 8039290"/>
              <a:gd name="connsiteY1" fmla="*/ 2828645 h 3476916"/>
              <a:gd name="connsiteX2" fmla="*/ 2353326 w 8039290"/>
              <a:gd name="connsiteY2" fmla="*/ 11346 h 3476916"/>
              <a:gd name="connsiteX3" fmla="*/ 3310400 w 8039290"/>
              <a:gd name="connsiteY3" fmla="*/ 1070793 h 3476916"/>
              <a:gd name="connsiteX4" fmla="*/ 4073914 w 8039290"/>
              <a:gd name="connsiteY4" fmla="*/ 17878 h 3476916"/>
              <a:gd name="connsiteX5" fmla="*/ 5753395 w 8039290"/>
              <a:gd name="connsiteY5" fmla="*/ 991411 h 3476916"/>
              <a:gd name="connsiteX6" fmla="*/ 6466253 w 8039290"/>
              <a:gd name="connsiteY6" fmla="*/ 98 h 3476916"/>
              <a:gd name="connsiteX7" fmla="*/ 8039290 w 8039290"/>
              <a:gd name="connsiteY7" fmla="*/ 3222611 h 3476916"/>
              <a:gd name="connsiteX0" fmla="*/ 0 w 8039290"/>
              <a:gd name="connsiteY0" fmla="*/ 3476908 h 3476908"/>
              <a:gd name="connsiteX1" fmla="*/ 1307814 w 8039290"/>
              <a:gd name="connsiteY1" fmla="*/ 2828637 h 3476908"/>
              <a:gd name="connsiteX2" fmla="*/ 2353326 w 8039290"/>
              <a:gd name="connsiteY2" fmla="*/ 11338 h 3476908"/>
              <a:gd name="connsiteX3" fmla="*/ 3310400 w 8039290"/>
              <a:gd name="connsiteY3" fmla="*/ 1070785 h 3476908"/>
              <a:gd name="connsiteX4" fmla="*/ 4073914 w 8039290"/>
              <a:gd name="connsiteY4" fmla="*/ 17870 h 3476908"/>
              <a:gd name="connsiteX5" fmla="*/ 4873890 w 8039290"/>
              <a:gd name="connsiteY5" fmla="*/ 1085406 h 3476908"/>
              <a:gd name="connsiteX6" fmla="*/ 6466253 w 8039290"/>
              <a:gd name="connsiteY6" fmla="*/ 90 h 3476908"/>
              <a:gd name="connsiteX7" fmla="*/ 8039290 w 8039290"/>
              <a:gd name="connsiteY7" fmla="*/ 3222603 h 3476908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74073 h 3465575"/>
              <a:gd name="connsiteX6" fmla="*/ 5633038 w 8039290"/>
              <a:gd name="connsiteY6" fmla="*/ 5849 h 3465575"/>
              <a:gd name="connsiteX7" fmla="*/ 8039290 w 8039290"/>
              <a:gd name="connsiteY7" fmla="*/ 3211270 h 3465575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31344 h 3465575"/>
              <a:gd name="connsiteX6" fmla="*/ 5633038 w 8039290"/>
              <a:gd name="connsiteY6" fmla="*/ 5849 h 3465575"/>
              <a:gd name="connsiteX7" fmla="*/ 8039290 w 8039290"/>
              <a:gd name="connsiteY7" fmla="*/ 3211270 h 3465575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31344 h 3465575"/>
              <a:gd name="connsiteX6" fmla="*/ 5633038 w 8039290"/>
              <a:gd name="connsiteY6" fmla="*/ 5849 h 3465575"/>
              <a:gd name="connsiteX7" fmla="*/ 6605121 w 8039290"/>
              <a:gd name="connsiteY7" fmla="*/ 980070 h 3465575"/>
              <a:gd name="connsiteX8" fmla="*/ 8039290 w 8039290"/>
              <a:gd name="connsiteY8" fmla="*/ 3211270 h 3465575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31344 h 3465575"/>
              <a:gd name="connsiteX6" fmla="*/ 5633038 w 8039290"/>
              <a:gd name="connsiteY6" fmla="*/ 5849 h 3465575"/>
              <a:gd name="connsiteX7" fmla="*/ 6355156 w 8039290"/>
              <a:gd name="connsiteY7" fmla="*/ 1074074 h 3465575"/>
              <a:gd name="connsiteX8" fmla="*/ 8039290 w 8039290"/>
              <a:gd name="connsiteY8" fmla="*/ 3211270 h 3465575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31344 h 3465575"/>
              <a:gd name="connsiteX6" fmla="*/ 5633038 w 8039290"/>
              <a:gd name="connsiteY6" fmla="*/ 5849 h 3465575"/>
              <a:gd name="connsiteX7" fmla="*/ 6355156 w 8039290"/>
              <a:gd name="connsiteY7" fmla="*/ 1074074 h 3465575"/>
              <a:gd name="connsiteX8" fmla="*/ 6910633 w 8039290"/>
              <a:gd name="connsiteY8" fmla="*/ 1757738 h 3465575"/>
              <a:gd name="connsiteX9" fmla="*/ 8039290 w 8039290"/>
              <a:gd name="connsiteY9" fmla="*/ 3211270 h 3465575"/>
              <a:gd name="connsiteX0" fmla="*/ 0 w 8039290"/>
              <a:gd name="connsiteY0" fmla="*/ 3465575 h 3465575"/>
              <a:gd name="connsiteX1" fmla="*/ 1307814 w 8039290"/>
              <a:gd name="connsiteY1" fmla="*/ 2817304 h 3465575"/>
              <a:gd name="connsiteX2" fmla="*/ 2353326 w 8039290"/>
              <a:gd name="connsiteY2" fmla="*/ 5 h 3465575"/>
              <a:gd name="connsiteX3" fmla="*/ 3310400 w 8039290"/>
              <a:gd name="connsiteY3" fmla="*/ 1059452 h 3465575"/>
              <a:gd name="connsiteX4" fmla="*/ 4073914 w 8039290"/>
              <a:gd name="connsiteY4" fmla="*/ 6537 h 3465575"/>
              <a:gd name="connsiteX5" fmla="*/ 4873890 w 8039290"/>
              <a:gd name="connsiteY5" fmla="*/ 1031344 h 3465575"/>
              <a:gd name="connsiteX6" fmla="*/ 5633038 w 8039290"/>
              <a:gd name="connsiteY6" fmla="*/ 5849 h 3465575"/>
              <a:gd name="connsiteX7" fmla="*/ 6355156 w 8039290"/>
              <a:gd name="connsiteY7" fmla="*/ 1074074 h 3465575"/>
              <a:gd name="connsiteX8" fmla="*/ 7160598 w 8039290"/>
              <a:gd name="connsiteY8" fmla="*/ 65670 h 3465575"/>
              <a:gd name="connsiteX9" fmla="*/ 8039290 w 8039290"/>
              <a:gd name="connsiteY9" fmla="*/ 3211270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60598 w 7789326"/>
              <a:gd name="connsiteY8" fmla="*/ 65670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51341 w 7789326"/>
              <a:gd name="connsiteY8" fmla="*/ 5849 h 3465575"/>
              <a:gd name="connsiteX9" fmla="*/ 7789326 w 7789326"/>
              <a:gd name="connsiteY9" fmla="*/ 1117551 h 3465575"/>
              <a:gd name="connsiteX0" fmla="*/ 0 w 7789326"/>
              <a:gd name="connsiteY0" fmla="*/ 3465575 h 3465575"/>
              <a:gd name="connsiteX1" fmla="*/ 1307814 w 7789326"/>
              <a:gd name="connsiteY1" fmla="*/ 2817304 h 3465575"/>
              <a:gd name="connsiteX2" fmla="*/ 2353326 w 7789326"/>
              <a:gd name="connsiteY2" fmla="*/ 5 h 3465575"/>
              <a:gd name="connsiteX3" fmla="*/ 3310400 w 7789326"/>
              <a:gd name="connsiteY3" fmla="*/ 1059452 h 3465575"/>
              <a:gd name="connsiteX4" fmla="*/ 4073914 w 7789326"/>
              <a:gd name="connsiteY4" fmla="*/ 6537 h 3465575"/>
              <a:gd name="connsiteX5" fmla="*/ 4873890 w 7789326"/>
              <a:gd name="connsiteY5" fmla="*/ 1031344 h 3465575"/>
              <a:gd name="connsiteX6" fmla="*/ 5633038 w 7789326"/>
              <a:gd name="connsiteY6" fmla="*/ 5849 h 3465575"/>
              <a:gd name="connsiteX7" fmla="*/ 6355156 w 7789326"/>
              <a:gd name="connsiteY7" fmla="*/ 1074074 h 3465575"/>
              <a:gd name="connsiteX8" fmla="*/ 7151341 w 7789326"/>
              <a:gd name="connsiteY8" fmla="*/ 5849 h 3465575"/>
              <a:gd name="connsiteX9" fmla="*/ 7789326 w 7789326"/>
              <a:gd name="connsiteY9" fmla="*/ 1117551 h 3465575"/>
              <a:gd name="connsiteX0" fmla="*/ 0 w 7696746"/>
              <a:gd name="connsiteY0" fmla="*/ 3465575 h 3465575"/>
              <a:gd name="connsiteX1" fmla="*/ 1307814 w 7696746"/>
              <a:gd name="connsiteY1" fmla="*/ 2817304 h 3465575"/>
              <a:gd name="connsiteX2" fmla="*/ 2353326 w 7696746"/>
              <a:gd name="connsiteY2" fmla="*/ 5 h 3465575"/>
              <a:gd name="connsiteX3" fmla="*/ 3310400 w 7696746"/>
              <a:gd name="connsiteY3" fmla="*/ 1059452 h 3465575"/>
              <a:gd name="connsiteX4" fmla="*/ 4073914 w 7696746"/>
              <a:gd name="connsiteY4" fmla="*/ 6537 h 3465575"/>
              <a:gd name="connsiteX5" fmla="*/ 4873890 w 7696746"/>
              <a:gd name="connsiteY5" fmla="*/ 1031344 h 3465575"/>
              <a:gd name="connsiteX6" fmla="*/ 5633038 w 7696746"/>
              <a:gd name="connsiteY6" fmla="*/ 5849 h 3465575"/>
              <a:gd name="connsiteX7" fmla="*/ 6355156 w 7696746"/>
              <a:gd name="connsiteY7" fmla="*/ 1074074 h 3465575"/>
              <a:gd name="connsiteX8" fmla="*/ 7151341 w 7696746"/>
              <a:gd name="connsiteY8" fmla="*/ 5849 h 3465575"/>
              <a:gd name="connsiteX9" fmla="*/ 7696746 w 7696746"/>
              <a:gd name="connsiteY9" fmla="*/ 767174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8168003 w 8168003"/>
              <a:gd name="connsiteY9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52746 w 8168003"/>
              <a:gd name="connsiteY9" fmla="*/ 840517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8168003"/>
              <a:gd name="connsiteY0" fmla="*/ 3465575 h 3465575"/>
              <a:gd name="connsiteX1" fmla="*/ 1307814 w 8168003"/>
              <a:gd name="connsiteY1" fmla="*/ 2817304 h 3465575"/>
              <a:gd name="connsiteX2" fmla="*/ 2353326 w 8168003"/>
              <a:gd name="connsiteY2" fmla="*/ 5 h 3465575"/>
              <a:gd name="connsiteX3" fmla="*/ 3310400 w 8168003"/>
              <a:gd name="connsiteY3" fmla="*/ 1059452 h 3465575"/>
              <a:gd name="connsiteX4" fmla="*/ 4073914 w 8168003"/>
              <a:gd name="connsiteY4" fmla="*/ 6537 h 3465575"/>
              <a:gd name="connsiteX5" fmla="*/ 4873890 w 8168003"/>
              <a:gd name="connsiteY5" fmla="*/ 1031344 h 3465575"/>
              <a:gd name="connsiteX6" fmla="*/ 5633038 w 8168003"/>
              <a:gd name="connsiteY6" fmla="*/ 5849 h 3465575"/>
              <a:gd name="connsiteX7" fmla="*/ 6355156 w 8168003"/>
              <a:gd name="connsiteY7" fmla="*/ 1074074 h 3465575"/>
              <a:gd name="connsiteX8" fmla="*/ 7151341 w 8168003"/>
              <a:gd name="connsiteY8" fmla="*/ 5849 h 3465575"/>
              <a:gd name="connsiteX9" fmla="*/ 7704659 w 8168003"/>
              <a:gd name="connsiteY9" fmla="*/ 858273 h 3465575"/>
              <a:gd name="connsiteX10" fmla="*/ 8168003 w 8168003"/>
              <a:gd name="connsiteY10" fmla="*/ 1717085 h 3465575"/>
              <a:gd name="connsiteX0" fmla="*/ 0 w 7994888"/>
              <a:gd name="connsiteY0" fmla="*/ 3465575 h 3465575"/>
              <a:gd name="connsiteX1" fmla="*/ 1307814 w 7994888"/>
              <a:gd name="connsiteY1" fmla="*/ 2817304 h 3465575"/>
              <a:gd name="connsiteX2" fmla="*/ 2353326 w 7994888"/>
              <a:gd name="connsiteY2" fmla="*/ 5 h 3465575"/>
              <a:gd name="connsiteX3" fmla="*/ 3310400 w 7994888"/>
              <a:gd name="connsiteY3" fmla="*/ 1059452 h 3465575"/>
              <a:gd name="connsiteX4" fmla="*/ 4073914 w 7994888"/>
              <a:gd name="connsiteY4" fmla="*/ 6537 h 3465575"/>
              <a:gd name="connsiteX5" fmla="*/ 4873890 w 7994888"/>
              <a:gd name="connsiteY5" fmla="*/ 1031344 h 3465575"/>
              <a:gd name="connsiteX6" fmla="*/ 5633038 w 7994888"/>
              <a:gd name="connsiteY6" fmla="*/ 5849 h 3465575"/>
              <a:gd name="connsiteX7" fmla="*/ 6355156 w 7994888"/>
              <a:gd name="connsiteY7" fmla="*/ 1074074 h 3465575"/>
              <a:gd name="connsiteX8" fmla="*/ 7151341 w 7994888"/>
              <a:gd name="connsiteY8" fmla="*/ 5849 h 3465575"/>
              <a:gd name="connsiteX9" fmla="*/ 7704659 w 7994888"/>
              <a:gd name="connsiteY9" fmla="*/ 858273 h 3465575"/>
              <a:gd name="connsiteX10" fmla="*/ 7994888 w 7994888"/>
              <a:gd name="connsiteY10" fmla="*/ 1725962 h 3465575"/>
              <a:gd name="connsiteX0" fmla="*/ 0 w 7994888"/>
              <a:gd name="connsiteY0" fmla="*/ 3465575 h 3465575"/>
              <a:gd name="connsiteX1" fmla="*/ 1307814 w 7994888"/>
              <a:gd name="connsiteY1" fmla="*/ 2817304 h 3465575"/>
              <a:gd name="connsiteX2" fmla="*/ 2353326 w 7994888"/>
              <a:gd name="connsiteY2" fmla="*/ 5 h 3465575"/>
              <a:gd name="connsiteX3" fmla="*/ 3310400 w 7994888"/>
              <a:gd name="connsiteY3" fmla="*/ 1059452 h 3465575"/>
              <a:gd name="connsiteX4" fmla="*/ 4073914 w 7994888"/>
              <a:gd name="connsiteY4" fmla="*/ 6537 h 3465575"/>
              <a:gd name="connsiteX5" fmla="*/ 4873890 w 7994888"/>
              <a:gd name="connsiteY5" fmla="*/ 1031344 h 3465575"/>
              <a:gd name="connsiteX6" fmla="*/ 5633038 w 7994888"/>
              <a:gd name="connsiteY6" fmla="*/ 5849 h 3465575"/>
              <a:gd name="connsiteX7" fmla="*/ 6355156 w 7994888"/>
              <a:gd name="connsiteY7" fmla="*/ 1074074 h 3465575"/>
              <a:gd name="connsiteX8" fmla="*/ 7151341 w 7994888"/>
              <a:gd name="connsiteY8" fmla="*/ 5849 h 3465575"/>
              <a:gd name="connsiteX9" fmla="*/ 7704659 w 7994888"/>
              <a:gd name="connsiteY9" fmla="*/ 858273 h 3465575"/>
              <a:gd name="connsiteX10" fmla="*/ 7994888 w 7994888"/>
              <a:gd name="connsiteY10" fmla="*/ 1725962 h 3465575"/>
              <a:gd name="connsiteX0" fmla="*/ 0 w 7994888"/>
              <a:gd name="connsiteY0" fmla="*/ 3465575 h 3465575"/>
              <a:gd name="connsiteX1" fmla="*/ 1307814 w 7994888"/>
              <a:gd name="connsiteY1" fmla="*/ 2817304 h 3465575"/>
              <a:gd name="connsiteX2" fmla="*/ 2353326 w 7994888"/>
              <a:gd name="connsiteY2" fmla="*/ 5 h 3465575"/>
              <a:gd name="connsiteX3" fmla="*/ 3310400 w 7994888"/>
              <a:gd name="connsiteY3" fmla="*/ 1059452 h 3465575"/>
              <a:gd name="connsiteX4" fmla="*/ 4073914 w 7994888"/>
              <a:gd name="connsiteY4" fmla="*/ 6537 h 3465575"/>
              <a:gd name="connsiteX5" fmla="*/ 4873890 w 7994888"/>
              <a:gd name="connsiteY5" fmla="*/ 1031344 h 3465575"/>
              <a:gd name="connsiteX6" fmla="*/ 5633038 w 7994888"/>
              <a:gd name="connsiteY6" fmla="*/ 5849 h 3465575"/>
              <a:gd name="connsiteX7" fmla="*/ 6355156 w 7994888"/>
              <a:gd name="connsiteY7" fmla="*/ 1074074 h 3465575"/>
              <a:gd name="connsiteX8" fmla="*/ 7151341 w 7994888"/>
              <a:gd name="connsiteY8" fmla="*/ 5849 h 3465575"/>
              <a:gd name="connsiteX9" fmla="*/ 7704659 w 7994888"/>
              <a:gd name="connsiteY9" fmla="*/ 858273 h 3465575"/>
              <a:gd name="connsiteX10" fmla="*/ 7994888 w 7994888"/>
              <a:gd name="connsiteY10" fmla="*/ 1725962 h 3465575"/>
              <a:gd name="connsiteX0" fmla="*/ 0 w 7994888"/>
              <a:gd name="connsiteY0" fmla="*/ 3465575 h 3465575"/>
              <a:gd name="connsiteX1" fmla="*/ 1307814 w 7994888"/>
              <a:gd name="connsiteY1" fmla="*/ 2817304 h 3465575"/>
              <a:gd name="connsiteX2" fmla="*/ 2353326 w 7994888"/>
              <a:gd name="connsiteY2" fmla="*/ 5 h 3465575"/>
              <a:gd name="connsiteX3" fmla="*/ 3310400 w 7994888"/>
              <a:gd name="connsiteY3" fmla="*/ 1059452 h 3465575"/>
              <a:gd name="connsiteX4" fmla="*/ 4073914 w 7994888"/>
              <a:gd name="connsiteY4" fmla="*/ 6537 h 3465575"/>
              <a:gd name="connsiteX5" fmla="*/ 4873890 w 7994888"/>
              <a:gd name="connsiteY5" fmla="*/ 1031344 h 3465575"/>
              <a:gd name="connsiteX6" fmla="*/ 5633038 w 7994888"/>
              <a:gd name="connsiteY6" fmla="*/ 5849 h 3465575"/>
              <a:gd name="connsiteX7" fmla="*/ 6355156 w 7994888"/>
              <a:gd name="connsiteY7" fmla="*/ 1074074 h 3465575"/>
              <a:gd name="connsiteX8" fmla="*/ 7151341 w 7994888"/>
              <a:gd name="connsiteY8" fmla="*/ 5849 h 3465575"/>
              <a:gd name="connsiteX9" fmla="*/ 7704659 w 7994888"/>
              <a:gd name="connsiteY9" fmla="*/ 858273 h 3465575"/>
              <a:gd name="connsiteX10" fmla="*/ 7994888 w 7994888"/>
              <a:gd name="connsiteY10" fmla="*/ 1725962 h 3465575"/>
              <a:gd name="connsiteX0" fmla="*/ 0 w 7994888"/>
              <a:gd name="connsiteY0" fmla="*/ 3465575 h 3465575"/>
              <a:gd name="connsiteX1" fmla="*/ 1307814 w 7994888"/>
              <a:gd name="connsiteY1" fmla="*/ 2817304 h 3465575"/>
              <a:gd name="connsiteX2" fmla="*/ 2353326 w 7994888"/>
              <a:gd name="connsiteY2" fmla="*/ 5 h 3465575"/>
              <a:gd name="connsiteX3" fmla="*/ 3310400 w 7994888"/>
              <a:gd name="connsiteY3" fmla="*/ 1059452 h 3465575"/>
              <a:gd name="connsiteX4" fmla="*/ 4073914 w 7994888"/>
              <a:gd name="connsiteY4" fmla="*/ 6537 h 3465575"/>
              <a:gd name="connsiteX5" fmla="*/ 4873890 w 7994888"/>
              <a:gd name="connsiteY5" fmla="*/ 1031344 h 3465575"/>
              <a:gd name="connsiteX6" fmla="*/ 5633038 w 7994888"/>
              <a:gd name="connsiteY6" fmla="*/ 5849 h 3465575"/>
              <a:gd name="connsiteX7" fmla="*/ 6355156 w 7994888"/>
              <a:gd name="connsiteY7" fmla="*/ 1074074 h 3465575"/>
              <a:gd name="connsiteX8" fmla="*/ 7151341 w 7994888"/>
              <a:gd name="connsiteY8" fmla="*/ 5849 h 3465575"/>
              <a:gd name="connsiteX9" fmla="*/ 7704659 w 7994888"/>
              <a:gd name="connsiteY9" fmla="*/ 858273 h 3465575"/>
              <a:gd name="connsiteX10" fmla="*/ 7994888 w 7994888"/>
              <a:gd name="connsiteY10" fmla="*/ 1725962 h 3465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994888" h="3465575">
                <a:moveTo>
                  <a:pt x="0" y="3465575"/>
                </a:moveTo>
                <a:cubicBezTo>
                  <a:pt x="1148654" y="3315461"/>
                  <a:pt x="878563" y="3309441"/>
                  <a:pt x="1307814" y="2817304"/>
                </a:cubicBezTo>
                <a:cubicBezTo>
                  <a:pt x="1737065" y="2325167"/>
                  <a:pt x="1936239" y="2423"/>
                  <a:pt x="2353326" y="5"/>
                </a:cubicBezTo>
                <a:cubicBezTo>
                  <a:pt x="2770413" y="-2413"/>
                  <a:pt x="2884768" y="1054089"/>
                  <a:pt x="3310400" y="1059452"/>
                </a:cubicBezTo>
                <a:cubicBezTo>
                  <a:pt x="3754550" y="1056266"/>
                  <a:pt x="3492529" y="25342"/>
                  <a:pt x="4073914" y="6537"/>
                </a:cubicBezTo>
                <a:cubicBezTo>
                  <a:pt x="4589090" y="24641"/>
                  <a:pt x="4280885" y="1034181"/>
                  <a:pt x="4873890" y="1031344"/>
                </a:cubicBezTo>
                <a:cubicBezTo>
                  <a:pt x="5366739" y="1028379"/>
                  <a:pt x="5039122" y="-5670"/>
                  <a:pt x="5633038" y="5849"/>
                </a:cubicBezTo>
                <a:cubicBezTo>
                  <a:pt x="6153026" y="5849"/>
                  <a:pt x="5805988" y="1078222"/>
                  <a:pt x="6355156" y="1074074"/>
                </a:cubicBezTo>
                <a:cubicBezTo>
                  <a:pt x="6836570" y="1066952"/>
                  <a:pt x="6555883" y="8573"/>
                  <a:pt x="7151341" y="5849"/>
                </a:cubicBezTo>
                <a:cubicBezTo>
                  <a:pt x="7393890" y="-40475"/>
                  <a:pt x="7602538" y="537555"/>
                  <a:pt x="7704659" y="858273"/>
                </a:cubicBezTo>
                <a:cubicBezTo>
                  <a:pt x="7806781" y="1178988"/>
                  <a:pt x="7906446" y="1465936"/>
                  <a:pt x="7994888" y="1725962"/>
                </a:cubicBezTo>
              </a:path>
            </a:pathLst>
          </a:custGeom>
          <a:noFill/>
          <a:ln w="635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smtClean="0">
              <a:ln>
                <a:noFill/>
              </a:ln>
              <a:solidFill>
                <a:srgbClr val="B50E20"/>
              </a:solidFill>
              <a:effectLst/>
              <a:uLnTx/>
              <a:uFillTx/>
            </a:endParaRPr>
          </a:p>
        </p:txBody>
      </p:sp>
      <p:sp>
        <p:nvSpPr>
          <p:cNvPr id="9" name="Freihandform 8"/>
          <p:cNvSpPr/>
          <p:nvPr/>
        </p:nvSpPr>
        <p:spPr bwMode="auto">
          <a:xfrm>
            <a:off x="1031150" y="1452837"/>
            <a:ext cx="7429574" cy="3443556"/>
          </a:xfrm>
          <a:custGeom>
            <a:avLst/>
            <a:gdLst>
              <a:gd name="connsiteX0" fmla="*/ 0 w 8100509"/>
              <a:gd name="connsiteY0" fmla="*/ 3761230 h 4056332"/>
              <a:gd name="connsiteX1" fmla="*/ 2775473 w 8100509"/>
              <a:gd name="connsiteY1" fmla="*/ 3739714 h 4056332"/>
              <a:gd name="connsiteX2" fmla="*/ 4733365 w 8100509"/>
              <a:gd name="connsiteY2" fmla="*/ 523178 h 4056332"/>
              <a:gd name="connsiteX3" fmla="*/ 8100509 w 8100509"/>
              <a:gd name="connsiteY3" fmla="*/ 6811 h 4056332"/>
              <a:gd name="connsiteX4" fmla="*/ 8100509 w 8100509"/>
              <a:gd name="connsiteY4" fmla="*/ 6811 h 4056332"/>
              <a:gd name="connsiteX0" fmla="*/ 0 w 8186570"/>
              <a:gd name="connsiteY0" fmla="*/ 3922594 h 4141160"/>
              <a:gd name="connsiteX1" fmla="*/ 2861534 w 8186570"/>
              <a:gd name="connsiteY1" fmla="*/ 3739714 h 4141160"/>
              <a:gd name="connsiteX2" fmla="*/ 4819426 w 8186570"/>
              <a:gd name="connsiteY2" fmla="*/ 523178 h 4141160"/>
              <a:gd name="connsiteX3" fmla="*/ 8186570 w 8186570"/>
              <a:gd name="connsiteY3" fmla="*/ 6811 h 4141160"/>
              <a:gd name="connsiteX4" fmla="*/ 8186570 w 8186570"/>
              <a:gd name="connsiteY4" fmla="*/ 6811 h 4141160"/>
              <a:gd name="connsiteX0" fmla="*/ 0 w 8186570"/>
              <a:gd name="connsiteY0" fmla="*/ 3922594 h 4081704"/>
              <a:gd name="connsiteX1" fmla="*/ 2861534 w 8186570"/>
              <a:gd name="connsiteY1" fmla="*/ 3739714 h 4081704"/>
              <a:gd name="connsiteX2" fmla="*/ 4819426 w 8186570"/>
              <a:gd name="connsiteY2" fmla="*/ 523178 h 4081704"/>
              <a:gd name="connsiteX3" fmla="*/ 8186570 w 8186570"/>
              <a:gd name="connsiteY3" fmla="*/ 6811 h 4081704"/>
              <a:gd name="connsiteX4" fmla="*/ 8186570 w 8186570"/>
              <a:gd name="connsiteY4" fmla="*/ 6811 h 4081704"/>
              <a:gd name="connsiteX0" fmla="*/ 0 w 8520057"/>
              <a:gd name="connsiteY0" fmla="*/ 4019412 h 4135502"/>
              <a:gd name="connsiteX1" fmla="*/ 3195021 w 8520057"/>
              <a:gd name="connsiteY1" fmla="*/ 3739714 h 4135502"/>
              <a:gd name="connsiteX2" fmla="*/ 5152913 w 8520057"/>
              <a:gd name="connsiteY2" fmla="*/ 523178 h 4135502"/>
              <a:gd name="connsiteX3" fmla="*/ 8520057 w 8520057"/>
              <a:gd name="connsiteY3" fmla="*/ 6811 h 4135502"/>
              <a:gd name="connsiteX4" fmla="*/ 8520057 w 8520057"/>
              <a:gd name="connsiteY4" fmla="*/ 6811 h 4135502"/>
              <a:gd name="connsiteX0" fmla="*/ 0 w 8520057"/>
              <a:gd name="connsiteY0" fmla="*/ 4015037 h 4059578"/>
              <a:gd name="connsiteX1" fmla="*/ 3453205 w 8520057"/>
              <a:gd name="connsiteY1" fmla="*/ 3509429 h 4059578"/>
              <a:gd name="connsiteX2" fmla="*/ 5152913 w 8520057"/>
              <a:gd name="connsiteY2" fmla="*/ 518803 h 4059578"/>
              <a:gd name="connsiteX3" fmla="*/ 8520057 w 8520057"/>
              <a:gd name="connsiteY3" fmla="*/ 2436 h 4059578"/>
              <a:gd name="connsiteX4" fmla="*/ 8520057 w 8520057"/>
              <a:gd name="connsiteY4" fmla="*/ 2436 h 4059578"/>
              <a:gd name="connsiteX0" fmla="*/ 0 w 8520057"/>
              <a:gd name="connsiteY0" fmla="*/ 4015037 h 4099967"/>
              <a:gd name="connsiteX1" fmla="*/ 3453205 w 8520057"/>
              <a:gd name="connsiteY1" fmla="*/ 3509429 h 4099967"/>
              <a:gd name="connsiteX2" fmla="*/ 5152913 w 8520057"/>
              <a:gd name="connsiteY2" fmla="*/ 518803 h 4099967"/>
              <a:gd name="connsiteX3" fmla="*/ 8520057 w 8520057"/>
              <a:gd name="connsiteY3" fmla="*/ 2436 h 4099967"/>
              <a:gd name="connsiteX4" fmla="*/ 8520057 w 8520057"/>
              <a:gd name="connsiteY4" fmla="*/ 2436 h 4099967"/>
              <a:gd name="connsiteX0" fmla="*/ 0 w 8520057"/>
              <a:gd name="connsiteY0" fmla="*/ 4012601 h 4020681"/>
              <a:gd name="connsiteX1" fmla="*/ 3722146 w 8520057"/>
              <a:gd name="connsiteY1" fmla="*/ 2538804 h 4020681"/>
              <a:gd name="connsiteX2" fmla="*/ 5152913 w 8520057"/>
              <a:gd name="connsiteY2" fmla="*/ 516367 h 4020681"/>
              <a:gd name="connsiteX3" fmla="*/ 8520057 w 8520057"/>
              <a:gd name="connsiteY3" fmla="*/ 0 h 4020681"/>
              <a:gd name="connsiteX4" fmla="*/ 8520057 w 8520057"/>
              <a:gd name="connsiteY4" fmla="*/ 0 h 4020681"/>
              <a:gd name="connsiteX0" fmla="*/ 0 w 8520057"/>
              <a:gd name="connsiteY0" fmla="*/ 4012601 h 4020068"/>
              <a:gd name="connsiteX1" fmla="*/ 3722146 w 8520057"/>
              <a:gd name="connsiteY1" fmla="*/ 2538804 h 4020068"/>
              <a:gd name="connsiteX2" fmla="*/ 5152913 w 8520057"/>
              <a:gd name="connsiteY2" fmla="*/ 516367 h 4020068"/>
              <a:gd name="connsiteX3" fmla="*/ 8520057 w 8520057"/>
              <a:gd name="connsiteY3" fmla="*/ 0 h 4020068"/>
              <a:gd name="connsiteX4" fmla="*/ 8520057 w 8520057"/>
              <a:gd name="connsiteY4" fmla="*/ 0 h 4020068"/>
              <a:gd name="connsiteX0" fmla="*/ 0 w 8520057"/>
              <a:gd name="connsiteY0" fmla="*/ 4012748 h 4037247"/>
              <a:gd name="connsiteX1" fmla="*/ 3560781 w 8520057"/>
              <a:gd name="connsiteY1" fmla="*/ 3238199 h 4037247"/>
              <a:gd name="connsiteX2" fmla="*/ 5152913 w 8520057"/>
              <a:gd name="connsiteY2" fmla="*/ 516514 h 4037247"/>
              <a:gd name="connsiteX3" fmla="*/ 8520057 w 8520057"/>
              <a:gd name="connsiteY3" fmla="*/ 147 h 4037247"/>
              <a:gd name="connsiteX4" fmla="*/ 8520057 w 8520057"/>
              <a:gd name="connsiteY4" fmla="*/ 147 h 4037247"/>
              <a:gd name="connsiteX0" fmla="*/ 0 w 8520057"/>
              <a:gd name="connsiteY0" fmla="*/ 4012601 h 4032167"/>
              <a:gd name="connsiteX1" fmla="*/ 3560781 w 8520057"/>
              <a:gd name="connsiteY1" fmla="*/ 3238052 h 4032167"/>
              <a:gd name="connsiteX2" fmla="*/ 4432150 w 8520057"/>
              <a:gd name="connsiteY2" fmla="*/ 398033 h 4032167"/>
              <a:gd name="connsiteX3" fmla="*/ 8520057 w 8520057"/>
              <a:gd name="connsiteY3" fmla="*/ 0 h 4032167"/>
              <a:gd name="connsiteX4" fmla="*/ 8520057 w 8520057"/>
              <a:gd name="connsiteY4" fmla="*/ 0 h 4032167"/>
              <a:gd name="connsiteX0" fmla="*/ 0 w 8520057"/>
              <a:gd name="connsiteY0" fmla="*/ 4012601 h 4051165"/>
              <a:gd name="connsiteX1" fmla="*/ 3550023 w 8520057"/>
              <a:gd name="connsiteY1" fmla="*/ 3453205 h 4051165"/>
              <a:gd name="connsiteX2" fmla="*/ 4432150 w 8520057"/>
              <a:gd name="connsiteY2" fmla="*/ 398033 h 4051165"/>
              <a:gd name="connsiteX3" fmla="*/ 8520057 w 8520057"/>
              <a:gd name="connsiteY3" fmla="*/ 0 h 4051165"/>
              <a:gd name="connsiteX4" fmla="*/ 8520057 w 8520057"/>
              <a:gd name="connsiteY4" fmla="*/ 0 h 4051165"/>
              <a:gd name="connsiteX0" fmla="*/ 0 w 8544902"/>
              <a:gd name="connsiteY0" fmla="*/ 4128639 h 4167203"/>
              <a:gd name="connsiteX1" fmla="*/ 3550023 w 8544902"/>
              <a:gd name="connsiteY1" fmla="*/ 3569243 h 4167203"/>
              <a:gd name="connsiteX2" fmla="*/ 4432150 w 8544902"/>
              <a:gd name="connsiteY2" fmla="*/ 514071 h 4167203"/>
              <a:gd name="connsiteX3" fmla="*/ 8520057 w 8544902"/>
              <a:gd name="connsiteY3" fmla="*/ 116038 h 4167203"/>
              <a:gd name="connsiteX4" fmla="*/ 6024283 w 8544902"/>
              <a:gd name="connsiteY4" fmla="*/ 1740442 h 4167203"/>
              <a:gd name="connsiteX0" fmla="*/ 0 w 8520057"/>
              <a:gd name="connsiteY0" fmla="*/ 4128639 h 4167203"/>
              <a:gd name="connsiteX1" fmla="*/ 3550023 w 8520057"/>
              <a:gd name="connsiteY1" fmla="*/ 3569243 h 4167203"/>
              <a:gd name="connsiteX2" fmla="*/ 4432150 w 8520057"/>
              <a:gd name="connsiteY2" fmla="*/ 514071 h 4167203"/>
              <a:gd name="connsiteX3" fmla="*/ 8520057 w 8520057"/>
              <a:gd name="connsiteY3" fmla="*/ 116038 h 4167203"/>
              <a:gd name="connsiteX0" fmla="*/ 0 w 6626711"/>
              <a:gd name="connsiteY0" fmla="*/ 3922775 h 3961339"/>
              <a:gd name="connsiteX1" fmla="*/ 3550023 w 6626711"/>
              <a:gd name="connsiteY1" fmla="*/ 3363379 h 3961339"/>
              <a:gd name="connsiteX2" fmla="*/ 4432150 w 6626711"/>
              <a:gd name="connsiteY2" fmla="*/ 308207 h 3961339"/>
              <a:gd name="connsiteX3" fmla="*/ 6626711 w 6626711"/>
              <a:gd name="connsiteY3" fmla="*/ 243661 h 3961339"/>
              <a:gd name="connsiteX0" fmla="*/ 0 w 6626711"/>
              <a:gd name="connsiteY0" fmla="*/ 3925003 h 3968829"/>
              <a:gd name="connsiteX1" fmla="*/ 2119256 w 6626711"/>
              <a:gd name="connsiteY1" fmla="*/ 3397880 h 3968829"/>
              <a:gd name="connsiteX2" fmla="*/ 4432150 w 6626711"/>
              <a:gd name="connsiteY2" fmla="*/ 310435 h 3968829"/>
              <a:gd name="connsiteX3" fmla="*/ 6626711 w 6626711"/>
              <a:gd name="connsiteY3" fmla="*/ 245889 h 3968829"/>
              <a:gd name="connsiteX0" fmla="*/ 0 w 6626711"/>
              <a:gd name="connsiteY0" fmla="*/ 3816508 h 3854814"/>
              <a:gd name="connsiteX1" fmla="*/ 2119256 w 6626711"/>
              <a:gd name="connsiteY1" fmla="*/ 3289385 h 3854814"/>
              <a:gd name="connsiteX2" fmla="*/ 3001383 w 6626711"/>
              <a:gd name="connsiteY2" fmla="*/ 427851 h 3854814"/>
              <a:gd name="connsiteX3" fmla="*/ 6626711 w 6626711"/>
              <a:gd name="connsiteY3" fmla="*/ 137394 h 3854814"/>
              <a:gd name="connsiteX0" fmla="*/ 0 w 6723530"/>
              <a:gd name="connsiteY0" fmla="*/ 3846868 h 3885174"/>
              <a:gd name="connsiteX1" fmla="*/ 2119256 w 6723530"/>
              <a:gd name="connsiteY1" fmla="*/ 3319745 h 3885174"/>
              <a:gd name="connsiteX2" fmla="*/ 3001383 w 6723530"/>
              <a:gd name="connsiteY2" fmla="*/ 458211 h 3885174"/>
              <a:gd name="connsiteX3" fmla="*/ 6723530 w 6723530"/>
              <a:gd name="connsiteY3" fmla="*/ 124724 h 3885174"/>
              <a:gd name="connsiteX0" fmla="*/ 0 w 6723530"/>
              <a:gd name="connsiteY0" fmla="*/ 3767642 h 3805948"/>
              <a:gd name="connsiteX1" fmla="*/ 2119256 w 6723530"/>
              <a:gd name="connsiteY1" fmla="*/ 3240519 h 3805948"/>
              <a:gd name="connsiteX2" fmla="*/ 3001383 w 6723530"/>
              <a:gd name="connsiteY2" fmla="*/ 378985 h 3805948"/>
              <a:gd name="connsiteX3" fmla="*/ 6723530 w 6723530"/>
              <a:gd name="connsiteY3" fmla="*/ 45498 h 3805948"/>
              <a:gd name="connsiteX0" fmla="*/ 0 w 5970495"/>
              <a:gd name="connsiteY0" fmla="*/ 3894193 h 3932499"/>
              <a:gd name="connsiteX1" fmla="*/ 2119256 w 5970495"/>
              <a:gd name="connsiteY1" fmla="*/ 3367070 h 3932499"/>
              <a:gd name="connsiteX2" fmla="*/ 3001383 w 5970495"/>
              <a:gd name="connsiteY2" fmla="*/ 505536 h 3932499"/>
              <a:gd name="connsiteX3" fmla="*/ 5970495 w 5970495"/>
              <a:gd name="connsiteY3" fmla="*/ 10684 h 3932499"/>
              <a:gd name="connsiteX0" fmla="*/ 0 w 5970495"/>
              <a:gd name="connsiteY0" fmla="*/ 3894193 h 3913586"/>
              <a:gd name="connsiteX1" fmla="*/ 2076225 w 5970495"/>
              <a:gd name="connsiteY1" fmla="*/ 3151918 h 3913586"/>
              <a:gd name="connsiteX2" fmla="*/ 3001383 w 5970495"/>
              <a:gd name="connsiteY2" fmla="*/ 505536 h 3913586"/>
              <a:gd name="connsiteX3" fmla="*/ 5970495 w 5970495"/>
              <a:gd name="connsiteY3" fmla="*/ 10684 h 3913586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3906825 w 5970495"/>
              <a:gd name="connsiteY3" fmla="*/ 113887 h 3902902"/>
              <a:gd name="connsiteX4" fmla="*/ 5970495 w 5970495"/>
              <a:gd name="connsiteY4" fmla="*/ 0 h 3902902"/>
              <a:gd name="connsiteX0" fmla="*/ 0 w 5970495"/>
              <a:gd name="connsiteY0" fmla="*/ 3883509 h 3902902"/>
              <a:gd name="connsiteX1" fmla="*/ 2076225 w 5970495"/>
              <a:gd name="connsiteY1" fmla="*/ 3141234 h 3902902"/>
              <a:gd name="connsiteX2" fmla="*/ 3001383 w 5970495"/>
              <a:gd name="connsiteY2" fmla="*/ 494852 h 3902902"/>
              <a:gd name="connsiteX3" fmla="*/ 4097325 w 5970495"/>
              <a:gd name="connsiteY3" fmla="*/ 1323562 h 3902902"/>
              <a:gd name="connsiteX4" fmla="*/ 5970495 w 5970495"/>
              <a:gd name="connsiteY4" fmla="*/ 0 h 3902902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497641 h 3517034"/>
              <a:gd name="connsiteX1" fmla="*/ 2076225 w 6008595"/>
              <a:gd name="connsiteY1" fmla="*/ 2755366 h 3517034"/>
              <a:gd name="connsiteX2" fmla="*/ 3001383 w 6008595"/>
              <a:gd name="connsiteY2" fmla="*/ 108984 h 3517034"/>
              <a:gd name="connsiteX3" fmla="*/ 4097325 w 6008595"/>
              <a:gd name="connsiteY3" fmla="*/ 937694 h 3517034"/>
              <a:gd name="connsiteX4" fmla="*/ 6008595 w 6008595"/>
              <a:gd name="connsiteY4" fmla="*/ 2281132 h 3517034"/>
              <a:gd name="connsiteX0" fmla="*/ 0 w 6008595"/>
              <a:gd name="connsiteY0" fmla="*/ 3521061 h 3540454"/>
              <a:gd name="connsiteX1" fmla="*/ 2076225 w 6008595"/>
              <a:gd name="connsiteY1" fmla="*/ 2778786 h 3540454"/>
              <a:gd name="connsiteX2" fmla="*/ 3001383 w 6008595"/>
              <a:gd name="connsiteY2" fmla="*/ 132404 h 3540454"/>
              <a:gd name="connsiteX3" fmla="*/ 4097325 w 6008595"/>
              <a:gd name="connsiteY3" fmla="*/ 961114 h 3540454"/>
              <a:gd name="connsiteX4" fmla="*/ 6008595 w 6008595"/>
              <a:gd name="connsiteY4" fmla="*/ 2304552 h 3540454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008595"/>
              <a:gd name="connsiteY0" fmla="*/ 3521061 h 3536219"/>
              <a:gd name="connsiteX1" fmla="*/ 2076225 w 6008595"/>
              <a:gd name="connsiteY1" fmla="*/ 2778786 h 3536219"/>
              <a:gd name="connsiteX2" fmla="*/ 3001383 w 6008595"/>
              <a:gd name="connsiteY2" fmla="*/ 132404 h 3536219"/>
              <a:gd name="connsiteX3" fmla="*/ 4097325 w 6008595"/>
              <a:gd name="connsiteY3" fmla="*/ 961114 h 3536219"/>
              <a:gd name="connsiteX4" fmla="*/ 6008595 w 6008595"/>
              <a:gd name="connsiteY4" fmla="*/ 2304552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21061 h 3536219"/>
              <a:gd name="connsiteX1" fmla="*/ 2076225 w 6122895"/>
              <a:gd name="connsiteY1" fmla="*/ 2778786 h 3536219"/>
              <a:gd name="connsiteX2" fmla="*/ 3001383 w 6122895"/>
              <a:gd name="connsiteY2" fmla="*/ 132404 h 3536219"/>
              <a:gd name="connsiteX3" fmla="*/ 4097325 w 6122895"/>
              <a:gd name="connsiteY3" fmla="*/ 961114 h 3536219"/>
              <a:gd name="connsiteX4" fmla="*/ 6122895 w 6122895"/>
              <a:gd name="connsiteY4" fmla="*/ 2104527 h 3536219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30378 h 3545536"/>
              <a:gd name="connsiteX1" fmla="*/ 2076225 w 6122895"/>
              <a:gd name="connsiteY1" fmla="*/ 2788103 h 3545536"/>
              <a:gd name="connsiteX2" fmla="*/ 3001383 w 6122895"/>
              <a:gd name="connsiteY2" fmla="*/ 141721 h 3545536"/>
              <a:gd name="connsiteX3" fmla="*/ 4097325 w 6122895"/>
              <a:gd name="connsiteY3" fmla="*/ 970431 h 3545536"/>
              <a:gd name="connsiteX4" fmla="*/ 6122895 w 6122895"/>
              <a:gd name="connsiteY4" fmla="*/ 2113844 h 3545536"/>
              <a:gd name="connsiteX0" fmla="*/ 0 w 6122895"/>
              <a:gd name="connsiteY0" fmla="*/ 3520577 h 3535735"/>
              <a:gd name="connsiteX1" fmla="*/ 2076225 w 6122895"/>
              <a:gd name="connsiteY1" fmla="*/ 2778302 h 3535735"/>
              <a:gd name="connsiteX2" fmla="*/ 3001383 w 6122895"/>
              <a:gd name="connsiteY2" fmla="*/ 131920 h 3535735"/>
              <a:gd name="connsiteX3" fmla="*/ 4097325 w 6122895"/>
              <a:gd name="connsiteY3" fmla="*/ 960630 h 3535735"/>
              <a:gd name="connsiteX4" fmla="*/ 6122895 w 6122895"/>
              <a:gd name="connsiteY4" fmla="*/ 2104043 h 3535735"/>
              <a:gd name="connsiteX0" fmla="*/ 0 w 7085722"/>
              <a:gd name="connsiteY0" fmla="*/ 3520577 h 3535735"/>
              <a:gd name="connsiteX1" fmla="*/ 2076225 w 7085722"/>
              <a:gd name="connsiteY1" fmla="*/ 2778302 h 3535735"/>
              <a:gd name="connsiteX2" fmla="*/ 3001383 w 7085722"/>
              <a:gd name="connsiteY2" fmla="*/ 131920 h 3535735"/>
              <a:gd name="connsiteX3" fmla="*/ 4097325 w 7085722"/>
              <a:gd name="connsiteY3" fmla="*/ 960630 h 3535735"/>
              <a:gd name="connsiteX4" fmla="*/ 7085722 w 7085722"/>
              <a:gd name="connsiteY4" fmla="*/ 2950077 h 3535735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351506 w 7085722"/>
              <a:gd name="connsiteY4" fmla="*/ 2057061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24928 h 3540086"/>
              <a:gd name="connsiteX1" fmla="*/ 2076225 w 7085722"/>
              <a:gd name="connsiteY1" fmla="*/ 2782653 h 3540086"/>
              <a:gd name="connsiteX2" fmla="*/ 3001383 w 7085722"/>
              <a:gd name="connsiteY2" fmla="*/ 136271 h 3540086"/>
              <a:gd name="connsiteX3" fmla="*/ 4097325 w 7085722"/>
              <a:gd name="connsiteY3" fmla="*/ 964981 h 3540086"/>
              <a:gd name="connsiteX4" fmla="*/ 5166348 w 7085722"/>
              <a:gd name="connsiteY4" fmla="*/ 2407438 h 3540086"/>
              <a:gd name="connsiteX5" fmla="*/ 7085722 w 7085722"/>
              <a:gd name="connsiteY5" fmla="*/ 2954428 h 3540086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166348 w 7085722"/>
              <a:gd name="connsiteY4" fmla="*/ 2415350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249670 w 7085722"/>
              <a:gd name="connsiteY4" fmla="*/ 2381167 h 3547998"/>
              <a:gd name="connsiteX5" fmla="*/ 7085722 w 7085722"/>
              <a:gd name="connsiteY5" fmla="*/ 2962340 h 3547998"/>
              <a:gd name="connsiteX0" fmla="*/ 0 w 7085722"/>
              <a:gd name="connsiteY0" fmla="*/ 3532840 h 3547998"/>
              <a:gd name="connsiteX1" fmla="*/ 2076225 w 7085722"/>
              <a:gd name="connsiteY1" fmla="*/ 2790565 h 3547998"/>
              <a:gd name="connsiteX2" fmla="*/ 3001383 w 7085722"/>
              <a:gd name="connsiteY2" fmla="*/ 144183 h 3547998"/>
              <a:gd name="connsiteX3" fmla="*/ 4097325 w 7085722"/>
              <a:gd name="connsiteY3" fmla="*/ 972893 h 3547998"/>
              <a:gd name="connsiteX4" fmla="*/ 5332991 w 7085722"/>
              <a:gd name="connsiteY4" fmla="*/ 2167522 h 3547998"/>
              <a:gd name="connsiteX5" fmla="*/ 7085722 w 7085722"/>
              <a:gd name="connsiteY5" fmla="*/ 2962340 h 3547998"/>
              <a:gd name="connsiteX0" fmla="*/ 0 w 7085722"/>
              <a:gd name="connsiteY0" fmla="*/ 3447097 h 3462255"/>
              <a:gd name="connsiteX1" fmla="*/ 2076225 w 7085722"/>
              <a:gd name="connsiteY1" fmla="*/ 2704822 h 3462255"/>
              <a:gd name="connsiteX2" fmla="*/ 3001383 w 7085722"/>
              <a:gd name="connsiteY2" fmla="*/ 58440 h 3462255"/>
              <a:gd name="connsiteX3" fmla="*/ 3912166 w 7085722"/>
              <a:gd name="connsiteY3" fmla="*/ 989700 h 3462255"/>
              <a:gd name="connsiteX4" fmla="*/ 5332991 w 7085722"/>
              <a:gd name="connsiteY4" fmla="*/ 2081779 h 3462255"/>
              <a:gd name="connsiteX5" fmla="*/ 7085722 w 7085722"/>
              <a:gd name="connsiteY5" fmla="*/ 2876597 h 3462255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085722"/>
              <a:gd name="connsiteY0" fmla="*/ 3443556 h 3458714"/>
              <a:gd name="connsiteX1" fmla="*/ 2076225 w 7085722"/>
              <a:gd name="connsiteY1" fmla="*/ 2701281 h 3458714"/>
              <a:gd name="connsiteX2" fmla="*/ 3001383 w 7085722"/>
              <a:gd name="connsiteY2" fmla="*/ 54899 h 3458714"/>
              <a:gd name="connsiteX3" fmla="*/ 3819587 w 7085722"/>
              <a:gd name="connsiteY3" fmla="*/ 1020343 h 3458714"/>
              <a:gd name="connsiteX4" fmla="*/ 5332991 w 7085722"/>
              <a:gd name="connsiteY4" fmla="*/ 2078238 h 3458714"/>
              <a:gd name="connsiteX5" fmla="*/ 7085722 w 7085722"/>
              <a:gd name="connsiteY5" fmla="*/ 287305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983743"/>
              <a:gd name="connsiteY0" fmla="*/ 3443556 h 3458714"/>
              <a:gd name="connsiteX1" fmla="*/ 2076225 w 7983743"/>
              <a:gd name="connsiteY1" fmla="*/ 2701281 h 3458714"/>
              <a:gd name="connsiteX2" fmla="*/ 3001383 w 7983743"/>
              <a:gd name="connsiteY2" fmla="*/ 54899 h 3458714"/>
              <a:gd name="connsiteX3" fmla="*/ 3819587 w 7983743"/>
              <a:gd name="connsiteY3" fmla="*/ 1020343 h 3458714"/>
              <a:gd name="connsiteX4" fmla="*/ 5332991 w 7983743"/>
              <a:gd name="connsiteY4" fmla="*/ 2078238 h 3458714"/>
              <a:gd name="connsiteX5" fmla="*/ 7983743 w 7983743"/>
              <a:gd name="connsiteY5" fmla="*/ 3240526 h 3458714"/>
              <a:gd name="connsiteX0" fmla="*/ 0 w 7466985"/>
              <a:gd name="connsiteY0" fmla="*/ 3443556 h 3462949"/>
              <a:gd name="connsiteX1" fmla="*/ 1559467 w 7466985"/>
              <a:gd name="connsiteY1" fmla="*/ 2701281 h 3462949"/>
              <a:gd name="connsiteX2" fmla="*/ 2484625 w 7466985"/>
              <a:gd name="connsiteY2" fmla="*/ 54899 h 3462949"/>
              <a:gd name="connsiteX3" fmla="*/ 3302829 w 7466985"/>
              <a:gd name="connsiteY3" fmla="*/ 1020343 h 3462949"/>
              <a:gd name="connsiteX4" fmla="*/ 4816233 w 7466985"/>
              <a:gd name="connsiteY4" fmla="*/ 2078238 h 3462949"/>
              <a:gd name="connsiteX5" fmla="*/ 7466985 w 7466985"/>
              <a:gd name="connsiteY5" fmla="*/ 3240526 h 3462949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7466985"/>
              <a:gd name="connsiteY0" fmla="*/ 3443556 h 3443556"/>
              <a:gd name="connsiteX1" fmla="*/ 1559467 w 7466985"/>
              <a:gd name="connsiteY1" fmla="*/ 2701281 h 3443556"/>
              <a:gd name="connsiteX2" fmla="*/ 2484625 w 7466985"/>
              <a:gd name="connsiteY2" fmla="*/ 54899 h 3443556"/>
              <a:gd name="connsiteX3" fmla="*/ 3302829 w 7466985"/>
              <a:gd name="connsiteY3" fmla="*/ 1020343 h 3443556"/>
              <a:gd name="connsiteX4" fmla="*/ 4816233 w 7466985"/>
              <a:gd name="connsiteY4" fmla="*/ 2078238 h 3443556"/>
              <a:gd name="connsiteX5" fmla="*/ 7466985 w 7466985"/>
              <a:gd name="connsiteY5" fmla="*/ 3240526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  <a:gd name="connsiteX0" fmla="*/ 0 w 8639628"/>
              <a:gd name="connsiteY0" fmla="*/ 3443556 h 3443556"/>
              <a:gd name="connsiteX1" fmla="*/ 1559467 w 8639628"/>
              <a:gd name="connsiteY1" fmla="*/ 2701281 h 3443556"/>
              <a:gd name="connsiteX2" fmla="*/ 2484625 w 8639628"/>
              <a:gd name="connsiteY2" fmla="*/ 54899 h 3443556"/>
              <a:gd name="connsiteX3" fmla="*/ 3302829 w 8639628"/>
              <a:gd name="connsiteY3" fmla="*/ 1020343 h 3443556"/>
              <a:gd name="connsiteX4" fmla="*/ 4816233 w 8639628"/>
              <a:gd name="connsiteY4" fmla="*/ 2078238 h 3443556"/>
              <a:gd name="connsiteX5" fmla="*/ 8639628 w 8639628"/>
              <a:gd name="connsiteY5" fmla="*/ 3428534 h 344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39628" h="3443556">
                <a:moveTo>
                  <a:pt x="0" y="3443556"/>
                </a:moveTo>
                <a:cubicBezTo>
                  <a:pt x="1131499" y="3319079"/>
                  <a:pt x="1075799" y="3377152"/>
                  <a:pt x="1559467" y="2701281"/>
                </a:cubicBezTo>
                <a:cubicBezTo>
                  <a:pt x="2043135" y="2025410"/>
                  <a:pt x="2194065" y="335055"/>
                  <a:pt x="2484625" y="54899"/>
                </a:cubicBezTo>
                <a:cubicBezTo>
                  <a:pt x="2775185" y="-225257"/>
                  <a:pt x="3016065" y="638966"/>
                  <a:pt x="3302829" y="1020343"/>
                </a:cubicBezTo>
                <a:cubicBezTo>
                  <a:pt x="3589593" y="1444448"/>
                  <a:pt x="4299652" y="1763756"/>
                  <a:pt x="4816233" y="2078238"/>
                </a:cubicBezTo>
                <a:cubicBezTo>
                  <a:pt x="5747480" y="2691823"/>
                  <a:pt x="7318516" y="3442768"/>
                  <a:pt x="8639628" y="3428534"/>
                </a:cubicBezTo>
              </a:path>
            </a:pathLst>
          </a:custGeom>
          <a:noFill/>
          <a:ln w="635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smtClean="0">
              <a:ln>
                <a:noFill/>
              </a:ln>
              <a:solidFill>
                <a:srgbClr val="B50E20"/>
              </a:solidFill>
              <a:effectLst/>
              <a:uLnTx/>
              <a:uFillTx/>
            </a:endParaRPr>
          </a:p>
        </p:txBody>
      </p:sp>
      <p:cxnSp>
        <p:nvCxnSpPr>
          <p:cNvPr id="3" name="Gerade Verbindung 2"/>
          <p:cNvCxnSpPr/>
          <p:nvPr/>
        </p:nvCxnSpPr>
        <p:spPr bwMode="auto">
          <a:xfrm>
            <a:off x="3275856" y="1268760"/>
            <a:ext cx="0" cy="3950567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16"/>
          <p:cNvCxnSpPr/>
          <p:nvPr/>
        </p:nvCxnSpPr>
        <p:spPr bwMode="auto">
          <a:xfrm>
            <a:off x="6228184" y="1268760"/>
            <a:ext cx="0" cy="3950567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7668344" y="1268760"/>
            <a:ext cx="0" cy="3950567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rade Verbindung 18"/>
          <p:cNvCxnSpPr/>
          <p:nvPr/>
        </p:nvCxnSpPr>
        <p:spPr bwMode="auto">
          <a:xfrm>
            <a:off x="4788024" y="1268760"/>
            <a:ext cx="0" cy="3950567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feld 10"/>
          <p:cNvSpPr txBox="1"/>
          <p:nvPr/>
        </p:nvSpPr>
        <p:spPr>
          <a:xfrm>
            <a:off x="1763688" y="5219327"/>
            <a:ext cx="20162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Anonyme Anzeige und Durchsuchung der Staatsanwaltschaft</a:t>
            </a:r>
            <a:endParaRPr lang="de-DE" sz="1400" dirty="0"/>
          </a:p>
        </p:txBody>
      </p:sp>
      <p:sp>
        <p:nvSpPr>
          <p:cNvPr id="20" name="Textfeld 19"/>
          <p:cNvSpPr txBox="1"/>
          <p:nvPr/>
        </p:nvSpPr>
        <p:spPr>
          <a:xfrm>
            <a:off x="3851920" y="5229200"/>
            <a:ext cx="20162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OB-Wahlkampfauftakt mit Besuch des </a:t>
            </a:r>
            <a:r>
              <a:rPr lang="de-DE" sz="1400" dirty="0" err="1" smtClean="0"/>
              <a:t>Stv</a:t>
            </a:r>
            <a:r>
              <a:rPr lang="de-DE" sz="1400" dirty="0" smtClean="0"/>
              <a:t>. Ministerpräsidenten</a:t>
            </a:r>
            <a:endParaRPr lang="de-DE" sz="1400" dirty="0"/>
          </a:p>
        </p:txBody>
      </p:sp>
      <p:sp>
        <p:nvSpPr>
          <p:cNvPr id="21" name="Textfeld 20"/>
          <p:cNvSpPr txBox="1"/>
          <p:nvPr/>
        </p:nvSpPr>
        <p:spPr>
          <a:xfrm>
            <a:off x="5868144" y="5301208"/>
            <a:ext cx="1296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OB-Wahl </a:t>
            </a:r>
            <a:endParaRPr lang="de-DE" sz="1400" dirty="0" smtClean="0"/>
          </a:p>
          <a:p>
            <a:r>
              <a:rPr lang="de-DE" sz="1400" dirty="0" smtClean="0"/>
              <a:t>1. Wahlgang</a:t>
            </a:r>
          </a:p>
          <a:p>
            <a:endParaRPr lang="de-DE" sz="1400" dirty="0"/>
          </a:p>
        </p:txBody>
      </p:sp>
      <p:sp>
        <p:nvSpPr>
          <p:cNvPr id="22" name="Textfeld 21"/>
          <p:cNvSpPr txBox="1"/>
          <p:nvPr/>
        </p:nvSpPr>
        <p:spPr>
          <a:xfrm>
            <a:off x="7308304" y="5280882"/>
            <a:ext cx="1296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OB-Wahl </a:t>
            </a:r>
            <a:endParaRPr lang="de-DE" sz="1400" dirty="0" smtClean="0"/>
          </a:p>
          <a:p>
            <a:r>
              <a:rPr lang="de-DE" sz="1400" dirty="0" smtClean="0"/>
              <a:t>2. Wahlgang</a:t>
            </a:r>
          </a:p>
          <a:p>
            <a:endParaRPr lang="de-DE" sz="1400" dirty="0"/>
          </a:p>
        </p:txBody>
      </p:sp>
      <p:sp>
        <p:nvSpPr>
          <p:cNvPr id="23" name="Textfeld 22"/>
          <p:cNvSpPr txBox="1"/>
          <p:nvPr/>
        </p:nvSpPr>
        <p:spPr>
          <a:xfrm>
            <a:off x="5580112" y="960983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Juni 2015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7020272" y="959494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Juli 2015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4139952" y="960983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März 2015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2627784" y="960983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 smtClean="0"/>
              <a:t>Oktober 2014</a:t>
            </a:r>
          </a:p>
        </p:txBody>
      </p:sp>
    </p:spTree>
    <p:extLst>
      <p:ext uri="{BB962C8B-B14F-4D97-AF65-F5344CB8AC3E}">
        <p14:creationId xmlns:p14="http://schemas.microsoft.com/office/powerpoint/2010/main" val="150067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ichweite von Online-Nachrichtenportalen</a:t>
            </a:r>
            <a:r>
              <a:rPr lang="de-DE" baseline="30000" dirty="0" smtClean="0"/>
              <a:t>1</a:t>
            </a:r>
            <a:endParaRPr lang="de-DE" baseline="30000" dirty="0"/>
          </a:p>
        </p:txBody>
      </p:sp>
      <p:graphicFrame>
        <p:nvGraphicFramePr>
          <p:cNvPr id="7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528401"/>
              </p:ext>
            </p:extLst>
          </p:nvPr>
        </p:nvGraphicFramePr>
        <p:xfrm>
          <a:off x="323528" y="1124744"/>
          <a:ext cx="8568952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179512" y="5888305"/>
            <a:ext cx="849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aseline="30000" dirty="0"/>
              <a:t>1</a:t>
            </a:r>
            <a:r>
              <a:rPr lang="de-DE" sz="1200" dirty="0"/>
              <a:t>Quelle: </a:t>
            </a:r>
            <a:r>
              <a:rPr lang="de-DE" sz="1200" dirty="0" smtClean="0"/>
              <a:t>destatis.de, Stand Juli 2016</a:t>
            </a:r>
            <a:endParaRPr lang="de-DE" sz="1200" dirty="0"/>
          </a:p>
        </p:txBody>
      </p:sp>
      <p:sp>
        <p:nvSpPr>
          <p:cNvPr id="5" name="Textfeld 1"/>
          <p:cNvSpPr txBox="1"/>
          <p:nvPr/>
        </p:nvSpPr>
        <p:spPr>
          <a:xfrm>
            <a:off x="7164288" y="5741531"/>
            <a:ext cx="1656184" cy="29354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400" b="1" dirty="0" err="1" smtClean="0"/>
              <a:t>Mio</a:t>
            </a:r>
            <a:r>
              <a:rPr lang="de-DE" sz="1400" b="1" dirty="0" smtClean="0"/>
              <a:t> Unique User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26228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ichweite einer Mediengruppe</a:t>
            </a:r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290736" y="1052736"/>
            <a:ext cx="8601744" cy="4757514"/>
            <a:chOff x="290736" y="1052736"/>
            <a:chExt cx="8601744" cy="4757514"/>
          </a:xfrm>
        </p:grpSpPr>
        <p:pic>
          <p:nvPicPr>
            <p:cNvPr id="1032" name="Picture 8" descr="http://www.funkemedien.de/export/sites/fmg/.content/image/portfolio/tageszeitungen/20140411_WAZ.jpg_1902274185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0192" y="105273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http://www.funkemedien.de/export/sites/fmg/.content/image/portfolio/tageszeitungen/20140423_BZ.jpg_1902274185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8064" y="155180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http://www.funkemedien.de/export/sites/fmg/.content/image/portfolio/tageszeitungen/20140416_BM.jpg_1902274185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032" y="1988840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http://www.funkemedien.de/export/sites/fmg/.content/image/portfolio/tageszeitungen/20140416_HA.jpg_1902274185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5192" y="105273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http://www.funkemedien.de/export/sites/fmg/.content/image/portfolio/tageszeitungen/20140411_TA.jpg_1902274185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" y="2420888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6" name="Picture 22" descr="http://www.funkemedien.de/export/sites/fmg/.content/image/portfolio/tageszeitungen/20140423_HarzKurier.jpg_1902274185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976" y="285293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2" name="Picture 28" descr="http://www.funkemedien.de/export/sites/fmg/.content/image/portfolio/tageszeitungen/TLZ.jpg_1902274185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736" y="335200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http://www.funkemedien.de/export/sites/fmg/.content/image/portfolio/tageszeitungen/20140411_OTZ.jpg_1902274185.jp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536" y="155180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8" name="Picture 24" descr="http://www.funkemedien.de/export/sites/fmg/.content/image/portfolio/tageszeitungen/20140411_WP.jpg_1902274185.jp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9368" y="1988840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4" name="Picture 20" descr="http://www.funkemedien.de/export/sites/fmg/.content/image/portfolio/tageszeitungen/20140214_BergedorferZeitung.jpg_1902274185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9408" y="2492896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http://www.funkemedien.de/export/sites/fmg/.content/image/portfolio/tageszeitungen/20140411_NRZ.jpg_1902274185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6656" y="2924944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0" name="Picture 26" descr="http://www.funkemedien.de/export/sites/fmg/.content/image/portfolio/tageszeitungen/20140411_WR.jpg_1902274185.jp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7480" y="3429000"/>
              <a:ext cx="1905000" cy="238125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56" name="Picture 32" descr="http://www.hamburgmediaschool.com/typo3temp/pics/Funke_Medien_Gruppe_Kachel_3bf4aab4ca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5015" y="2060848"/>
            <a:ext cx="2381250" cy="148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2771800" y="3401704"/>
            <a:ext cx="3528392" cy="230832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de-DE" sz="1600" dirty="0"/>
              <a:t>Mit ihren Tageszeitungen erreichen die </a:t>
            </a:r>
            <a:r>
              <a:rPr lang="de-DE" sz="1600" dirty="0" smtClean="0"/>
              <a:t>FUNKE-Redaktionen </a:t>
            </a:r>
            <a:r>
              <a:rPr lang="de-DE" sz="1600" dirty="0"/>
              <a:t>jeden Tag </a:t>
            </a:r>
            <a:r>
              <a:rPr lang="de-DE" sz="1600" b="1" dirty="0"/>
              <a:t>mehr als fünf Millionen Menschen</a:t>
            </a:r>
            <a:r>
              <a:rPr lang="de-DE" sz="1600" dirty="0"/>
              <a:t> in Deutschland</a:t>
            </a:r>
            <a:r>
              <a:rPr lang="de-DE" sz="1600" dirty="0" smtClean="0"/>
              <a:t>.</a:t>
            </a:r>
            <a:br>
              <a:rPr lang="de-DE" sz="1600" dirty="0" smtClean="0"/>
            </a:br>
            <a:r>
              <a:rPr lang="de-DE" sz="1600" dirty="0" smtClean="0"/>
              <a:t>Wir </a:t>
            </a:r>
            <a:r>
              <a:rPr lang="de-DE" sz="1600" dirty="0"/>
              <a:t>sind uns der </a:t>
            </a:r>
            <a:r>
              <a:rPr lang="de-DE" sz="1600" b="1" dirty="0" smtClean="0"/>
              <a:t>publizistischen</a:t>
            </a:r>
          </a:p>
          <a:p>
            <a:r>
              <a:rPr lang="de-DE" sz="1600" b="1" dirty="0"/>
              <a:t>K</a:t>
            </a:r>
            <a:r>
              <a:rPr lang="de-DE" sz="1600" b="1" dirty="0" smtClean="0"/>
              <a:t>raft</a:t>
            </a:r>
            <a:r>
              <a:rPr lang="de-DE" sz="1600" dirty="0" smtClean="0"/>
              <a:t> </a:t>
            </a:r>
            <a:r>
              <a:rPr lang="de-DE" sz="1600" dirty="0"/>
              <a:t>bewusst, die mit dieser Größe </a:t>
            </a:r>
            <a:r>
              <a:rPr lang="de-DE" sz="1600" dirty="0" smtClean="0"/>
              <a:t>einhergeht, </a:t>
            </a:r>
            <a:r>
              <a:rPr lang="de-DE" sz="1600" dirty="0"/>
              <a:t>und </a:t>
            </a:r>
            <a:r>
              <a:rPr lang="de-DE" sz="1600" dirty="0" smtClean="0"/>
              <a:t>die </a:t>
            </a:r>
            <a:r>
              <a:rPr lang="de-DE" sz="1600" b="1" dirty="0"/>
              <a:t>Journalisten </a:t>
            </a:r>
            <a:r>
              <a:rPr lang="de-DE" sz="1600" b="1" dirty="0" smtClean="0"/>
              <a:t>gehen verantwortlich </a:t>
            </a:r>
            <a:r>
              <a:rPr lang="de-DE" sz="1600" b="1" dirty="0"/>
              <a:t>mit ihr </a:t>
            </a:r>
            <a:r>
              <a:rPr lang="de-DE" sz="1600" b="1" dirty="0" smtClean="0"/>
              <a:t>um</a:t>
            </a:r>
            <a:r>
              <a:rPr lang="de-DE" sz="1600" dirty="0" smtClean="0"/>
              <a:t>.</a:t>
            </a:r>
            <a:r>
              <a:rPr lang="de-DE" sz="1600" baseline="30000" dirty="0" smtClean="0"/>
              <a:t>1</a:t>
            </a:r>
            <a:endParaRPr lang="de-DE" sz="1600" baseline="30000" dirty="0"/>
          </a:p>
        </p:txBody>
      </p:sp>
      <p:sp>
        <p:nvSpPr>
          <p:cNvPr id="12" name="Textfeld 11"/>
          <p:cNvSpPr txBox="1"/>
          <p:nvPr/>
        </p:nvSpPr>
        <p:spPr>
          <a:xfrm>
            <a:off x="179512" y="5888305"/>
            <a:ext cx="849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aseline="30000" dirty="0"/>
              <a:t>1</a:t>
            </a:r>
            <a:r>
              <a:rPr lang="de-DE" sz="1200" dirty="0"/>
              <a:t>Quelle: </a:t>
            </a:r>
            <a:r>
              <a:rPr lang="de-DE" sz="1200" dirty="0" smtClean="0"/>
              <a:t>www.funkemedien.de/de/geschaeftsfelder/print/tageszeitungen</a:t>
            </a:r>
            <a:r>
              <a:rPr lang="de-DE" sz="12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309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1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F3286"/>
      </a:accent1>
      <a:accent2>
        <a:srgbClr val="B9181E"/>
      </a:accent2>
      <a:accent3>
        <a:srgbClr val="FFFFFF"/>
      </a:accent3>
      <a:accent4>
        <a:srgbClr val="000000"/>
      </a:accent4>
      <a:accent5>
        <a:srgbClr val="AAADC3"/>
      </a:accent5>
      <a:accent6>
        <a:srgbClr val="A7151A"/>
      </a:accent6>
      <a:hlink>
        <a:srgbClr val="808080"/>
      </a:hlink>
      <a:folHlink>
        <a:srgbClr val="B4B4B4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F3286"/>
        </a:accent1>
        <a:accent2>
          <a:srgbClr val="B9181E"/>
        </a:accent2>
        <a:accent3>
          <a:srgbClr val="FFFFFF"/>
        </a:accent3>
        <a:accent4>
          <a:srgbClr val="000000"/>
        </a:accent4>
        <a:accent5>
          <a:srgbClr val="AAADC3"/>
        </a:accent5>
        <a:accent6>
          <a:srgbClr val="A7151A"/>
        </a:accent6>
        <a:hlink>
          <a:srgbClr val="808080"/>
        </a:hlink>
        <a:folHlink>
          <a:srgbClr val="B4B4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UMM">
  <a:themeElements>
    <a:clrScheme name="Benutzerdefiniert 2">
      <a:dk1>
        <a:srgbClr val="5E5E5E"/>
      </a:dk1>
      <a:lt1>
        <a:srgbClr val="FFFFFF"/>
      </a:lt1>
      <a:dk2>
        <a:srgbClr val="0F3286"/>
      </a:dk2>
      <a:lt2>
        <a:srgbClr val="FFFFFF"/>
      </a:lt2>
      <a:accent1>
        <a:srgbClr val="C7D5F9"/>
      </a:accent1>
      <a:accent2>
        <a:srgbClr val="6B91EF"/>
      </a:accent2>
      <a:accent3>
        <a:srgbClr val="FFFFFF"/>
      </a:accent3>
      <a:accent4>
        <a:srgbClr val="000000"/>
      </a:accent4>
      <a:accent5>
        <a:srgbClr val="F6A924"/>
      </a:accent5>
      <a:accent6>
        <a:srgbClr val="009EE0"/>
      </a:accent6>
      <a:hlink>
        <a:srgbClr val="0F3286"/>
      </a:hlink>
      <a:folHlink>
        <a:srgbClr val="009EE0"/>
      </a:folHlink>
    </a:clrScheme>
    <a:fontScheme name="CUST-ZZH-096_de_0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kumimoji="0" sz="160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solidFill>
          <a:schemeClr val="bg1"/>
        </a:solidFill>
        <a:ln>
          <a:solidFill>
            <a:schemeClr val="tx2"/>
          </a:solidFill>
        </a:ln>
        <a:effectLst/>
        <a:ex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>
          <a:buClr>
            <a:schemeClr val="tx1"/>
          </a:buClr>
          <a:defRPr kern="0" dirty="0" err="1" smtClean="0"/>
        </a:defPPr>
      </a:lstStyle>
    </a:txDef>
  </a:objectDefaults>
  <a:extraClrSchemeLst>
    <a:extraClrScheme>
      <a:clrScheme name="CUST-ZZH-096_de_02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CEBED"/>
        </a:accent1>
        <a:accent2>
          <a:srgbClr val="66C2CA"/>
        </a:accent2>
        <a:accent3>
          <a:srgbClr val="FFFFFF"/>
        </a:accent3>
        <a:accent4>
          <a:srgbClr val="000000"/>
        </a:accent4>
        <a:accent5>
          <a:srgbClr val="E2F3F4"/>
        </a:accent5>
        <a:accent6>
          <a:srgbClr val="5CB0B7"/>
        </a:accent6>
        <a:hlink>
          <a:srgbClr val="009AA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7</Words>
  <Application>Microsoft Office PowerPoint</Application>
  <PresentationFormat>Bildschirmpräsentation (4:3)</PresentationFormat>
  <Paragraphs>105</Paragraphs>
  <Slides>16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Leere Präsentation</vt:lpstr>
      <vt:lpstr>UMM</vt:lpstr>
      <vt:lpstr>Larissa</vt:lpstr>
      <vt:lpstr>think-cell Folie</vt:lpstr>
      <vt:lpstr>think-cell Slide</vt:lpstr>
      <vt:lpstr>PowerPoint-Präsentation</vt:lpstr>
      <vt:lpstr>Chronologie der Sterilgutkrise an der UMM </vt:lpstr>
      <vt:lpstr>Chronologie der Sterilgutkrise an der UMM </vt:lpstr>
      <vt:lpstr>Fakten zum ‚Hygiene-Skandal‘ an der UMM </vt:lpstr>
      <vt:lpstr>Die Vertrauenskrise</vt:lpstr>
      <vt:lpstr>Typischer kommunikativer Krisenverlauf</vt:lpstr>
      <vt:lpstr>Krisenverlauf an der UMM</vt:lpstr>
      <vt:lpstr>Reichweite von Online-Nachrichtenportalen1</vt:lpstr>
      <vt:lpstr>Reichweite einer Mediengruppe</vt:lpstr>
      <vt:lpstr>Auswirkungen:  Fallzahlen</vt:lpstr>
      <vt:lpstr>Auswirkungen:  EBITDA (in Mio Euro)</vt:lpstr>
      <vt:lpstr>Maßnahmen </vt:lpstr>
      <vt:lpstr>Maßnahmen </vt:lpstr>
      <vt:lpstr>Maßnahmen </vt:lpstr>
      <vt:lpstr>Maßnahmen </vt:lpstr>
      <vt:lpstr>  It takes 20 years  to build a reputation and 5 minutes to lose it. Warren Buffet</vt:lpstr>
    </vt:vector>
  </TitlesOfParts>
  <Company>Universitätsmedizin Mannheim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ing</dc:creator>
  <cp:lastModifiedBy>Schuhmann, Dirk</cp:lastModifiedBy>
  <cp:revision>206</cp:revision>
  <cp:lastPrinted>2016-10-28T07:25:43Z</cp:lastPrinted>
  <dcterms:created xsi:type="dcterms:W3CDTF">2008-08-19T14:40:40Z</dcterms:created>
  <dcterms:modified xsi:type="dcterms:W3CDTF">2018-04-25T09:34:36Z</dcterms:modified>
</cp:coreProperties>
</file>